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6" r:id="rId2"/>
    <p:sldId id="317" r:id="rId3"/>
    <p:sldId id="258" r:id="rId4"/>
    <p:sldId id="304" r:id="rId5"/>
    <p:sldId id="292" r:id="rId6"/>
    <p:sldId id="318" r:id="rId7"/>
    <p:sldId id="267" r:id="rId8"/>
    <p:sldId id="310" r:id="rId9"/>
    <p:sldId id="311" r:id="rId10"/>
    <p:sldId id="302" r:id="rId11"/>
    <p:sldId id="319" r:id="rId12"/>
    <p:sldId id="320" r:id="rId13"/>
    <p:sldId id="321" r:id="rId14"/>
    <p:sldId id="323" r:id="rId15"/>
    <p:sldId id="327" r:id="rId16"/>
    <p:sldId id="324" r:id="rId17"/>
    <p:sldId id="322" r:id="rId18"/>
    <p:sldId id="325" r:id="rId19"/>
    <p:sldId id="326" r:id="rId20"/>
    <p:sldId id="309"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2D8AC5-C3A3-4A2B-B7EE-BE3DDD5DE9A1}" v="2619" dt="2020-05-24T21:07:23.0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verio romeo" userId="6ff4ea38a6e2050e" providerId="LiveId" clId="{052D8AC5-C3A3-4A2B-B7EE-BE3DDD5DE9A1}"/>
    <pc:docChg chg="undo custSel addSld delSld modSld sldOrd">
      <pc:chgData name="saverio romeo" userId="6ff4ea38a6e2050e" providerId="LiveId" clId="{052D8AC5-C3A3-4A2B-B7EE-BE3DDD5DE9A1}" dt="2020-05-24T21:33:05.390" v="10896" actId="1076"/>
      <pc:docMkLst>
        <pc:docMk/>
      </pc:docMkLst>
      <pc:sldChg chg="addSp delSp modSp mod">
        <pc:chgData name="saverio romeo" userId="6ff4ea38a6e2050e" providerId="LiveId" clId="{052D8AC5-C3A3-4A2B-B7EE-BE3DDD5DE9A1}" dt="2020-05-24T19:40:19.771" v="10599" actId="20577"/>
        <pc:sldMkLst>
          <pc:docMk/>
          <pc:sldMk cId="1923638600" sldId="256"/>
        </pc:sldMkLst>
        <pc:spChg chg="add del mod">
          <ac:chgData name="saverio romeo" userId="6ff4ea38a6e2050e" providerId="LiveId" clId="{052D8AC5-C3A3-4A2B-B7EE-BE3DDD5DE9A1}" dt="2020-05-24T19:40:19.771" v="10599" actId="20577"/>
          <ac:spMkLst>
            <pc:docMk/>
            <pc:sldMk cId="1923638600" sldId="256"/>
            <ac:spMk id="2" creationId="{AFB63840-5C10-45A3-8EA3-B484ABC42987}"/>
          </ac:spMkLst>
        </pc:spChg>
        <pc:spChg chg="add del mod">
          <ac:chgData name="saverio romeo" userId="6ff4ea38a6e2050e" providerId="LiveId" clId="{052D8AC5-C3A3-4A2B-B7EE-BE3DDD5DE9A1}" dt="2020-05-24T19:40:03.290" v="10576" actId="478"/>
          <ac:spMkLst>
            <pc:docMk/>
            <pc:sldMk cId="1923638600" sldId="256"/>
            <ac:spMk id="5" creationId="{2716B33B-15C5-447F-B367-B25FDABE0522}"/>
          </ac:spMkLst>
        </pc:spChg>
        <pc:picChg chg="del">
          <ac:chgData name="saverio romeo" userId="6ff4ea38a6e2050e" providerId="LiveId" clId="{052D8AC5-C3A3-4A2B-B7EE-BE3DDD5DE9A1}" dt="2020-05-24T09:51:24.352" v="1615" actId="478"/>
          <ac:picMkLst>
            <pc:docMk/>
            <pc:sldMk cId="1923638600" sldId="256"/>
            <ac:picMk id="5" creationId="{9EBE29E3-599D-49A8-BE4C-6FEA51ECA838}"/>
          </ac:picMkLst>
        </pc:picChg>
      </pc:sldChg>
      <pc:sldChg chg="add">
        <pc:chgData name="saverio romeo" userId="6ff4ea38a6e2050e" providerId="LiveId" clId="{052D8AC5-C3A3-4A2B-B7EE-BE3DDD5DE9A1}" dt="2020-05-24T20:59:44.299" v="10619"/>
        <pc:sldMkLst>
          <pc:docMk/>
          <pc:sldMk cId="1661773163" sldId="258"/>
        </pc:sldMkLst>
      </pc:sldChg>
      <pc:sldChg chg="del">
        <pc:chgData name="saverio romeo" userId="6ff4ea38a6e2050e" providerId="LiveId" clId="{052D8AC5-C3A3-4A2B-B7EE-BE3DDD5DE9A1}" dt="2020-05-24T09:03:50.308" v="0" actId="47"/>
        <pc:sldMkLst>
          <pc:docMk/>
          <pc:sldMk cId="1260063277" sldId="266"/>
        </pc:sldMkLst>
      </pc:sldChg>
      <pc:sldChg chg="addSp modSp add mod">
        <pc:chgData name="saverio romeo" userId="6ff4ea38a6e2050e" providerId="LiveId" clId="{052D8AC5-C3A3-4A2B-B7EE-BE3DDD5DE9A1}" dt="2020-05-24T21:33:05.390" v="10896" actId="1076"/>
        <pc:sldMkLst>
          <pc:docMk/>
          <pc:sldMk cId="2432915154" sldId="267"/>
        </pc:sldMkLst>
        <pc:spChg chg="mod">
          <ac:chgData name="saverio romeo" userId="6ff4ea38a6e2050e" providerId="LiveId" clId="{052D8AC5-C3A3-4A2B-B7EE-BE3DDD5DE9A1}" dt="2020-05-24T17:42:28.542" v="6545" actId="20577"/>
          <ac:spMkLst>
            <pc:docMk/>
            <pc:sldMk cId="2432915154" sldId="267"/>
            <ac:spMk id="2" creationId="{12EE1D6F-D641-46EC-955E-A662FA8D3C5A}"/>
          </ac:spMkLst>
        </pc:spChg>
        <pc:spChg chg="add mod">
          <ac:chgData name="saverio romeo" userId="6ff4ea38a6e2050e" providerId="LiveId" clId="{052D8AC5-C3A3-4A2B-B7EE-BE3DDD5DE9A1}" dt="2020-05-24T21:12:49.156" v="10827" actId="20577"/>
          <ac:spMkLst>
            <pc:docMk/>
            <pc:sldMk cId="2432915154" sldId="267"/>
            <ac:spMk id="11" creationId="{82A54B51-97CA-4FEA-960C-DA45A8AD47ED}"/>
          </ac:spMkLst>
        </pc:spChg>
        <pc:spChg chg="mod">
          <ac:chgData name="saverio romeo" userId="6ff4ea38a6e2050e" providerId="LiveId" clId="{052D8AC5-C3A3-4A2B-B7EE-BE3DDD5DE9A1}" dt="2020-05-24T21:32:45.536" v="10892" actId="1076"/>
          <ac:spMkLst>
            <pc:docMk/>
            <pc:sldMk cId="2432915154" sldId="267"/>
            <ac:spMk id="16" creationId="{CDD16C57-4E58-4741-AC5C-CE14B4AA55C2}"/>
          </ac:spMkLst>
        </pc:spChg>
        <pc:spChg chg="mod">
          <ac:chgData name="saverio romeo" userId="6ff4ea38a6e2050e" providerId="LiveId" clId="{052D8AC5-C3A3-4A2B-B7EE-BE3DDD5DE9A1}" dt="2020-05-24T21:32:50.103" v="10893" actId="1076"/>
          <ac:spMkLst>
            <pc:docMk/>
            <pc:sldMk cId="2432915154" sldId="267"/>
            <ac:spMk id="17" creationId="{33F10BA1-CF9E-4E70-A780-61CB9622CBB9}"/>
          </ac:spMkLst>
        </pc:spChg>
        <pc:spChg chg="mod">
          <ac:chgData name="saverio romeo" userId="6ff4ea38a6e2050e" providerId="LiveId" clId="{052D8AC5-C3A3-4A2B-B7EE-BE3DDD5DE9A1}" dt="2020-05-24T21:32:59.280" v="10895" actId="1076"/>
          <ac:spMkLst>
            <pc:docMk/>
            <pc:sldMk cId="2432915154" sldId="267"/>
            <ac:spMk id="18" creationId="{60B776FC-28FE-408C-9AE1-B6017D5EB562}"/>
          </ac:spMkLst>
        </pc:spChg>
        <pc:spChg chg="mod">
          <ac:chgData name="saverio romeo" userId="6ff4ea38a6e2050e" providerId="LiveId" clId="{052D8AC5-C3A3-4A2B-B7EE-BE3DDD5DE9A1}" dt="2020-05-24T21:33:05.390" v="10896" actId="1076"/>
          <ac:spMkLst>
            <pc:docMk/>
            <pc:sldMk cId="2432915154" sldId="267"/>
            <ac:spMk id="19" creationId="{16FF22DC-AE0B-4199-997B-723D66E21A31}"/>
          </ac:spMkLst>
        </pc:spChg>
        <pc:spChg chg="mod">
          <ac:chgData name="saverio romeo" userId="6ff4ea38a6e2050e" providerId="LiveId" clId="{052D8AC5-C3A3-4A2B-B7EE-BE3DDD5DE9A1}" dt="2020-05-24T21:32:40.446" v="10891" actId="1076"/>
          <ac:spMkLst>
            <pc:docMk/>
            <pc:sldMk cId="2432915154" sldId="267"/>
            <ac:spMk id="20" creationId="{1C7AF1A7-2031-4A5B-B4B9-C963AEF31518}"/>
          </ac:spMkLst>
        </pc:spChg>
        <pc:spChg chg="mod">
          <ac:chgData name="saverio romeo" userId="6ff4ea38a6e2050e" providerId="LiveId" clId="{052D8AC5-C3A3-4A2B-B7EE-BE3DDD5DE9A1}" dt="2020-05-24T21:32:54.419" v="10894" actId="1076"/>
          <ac:spMkLst>
            <pc:docMk/>
            <pc:sldMk cId="2432915154" sldId="267"/>
            <ac:spMk id="22" creationId="{623836FC-EC07-4680-A380-EA675E775F33}"/>
          </ac:spMkLst>
        </pc:spChg>
        <pc:spChg chg="mod">
          <ac:chgData name="saverio romeo" userId="6ff4ea38a6e2050e" providerId="LiveId" clId="{052D8AC5-C3A3-4A2B-B7EE-BE3DDD5DE9A1}" dt="2020-05-24T21:32:35.920" v="10890" actId="1076"/>
          <ac:spMkLst>
            <pc:docMk/>
            <pc:sldMk cId="2432915154" sldId="267"/>
            <ac:spMk id="23" creationId="{610B9401-DE96-49D6-A96D-DBFF89F2B302}"/>
          </ac:spMkLst>
        </pc:spChg>
      </pc:sldChg>
      <pc:sldChg chg="addSp modSp mod">
        <pc:chgData name="saverio romeo" userId="6ff4ea38a6e2050e" providerId="LiveId" clId="{052D8AC5-C3A3-4A2B-B7EE-BE3DDD5DE9A1}" dt="2020-05-24T21:12:34.091" v="10799" actId="20577"/>
        <pc:sldMkLst>
          <pc:docMk/>
          <pc:sldMk cId="3507085319" sldId="292"/>
        </pc:sldMkLst>
        <pc:spChg chg="mod">
          <ac:chgData name="saverio romeo" userId="6ff4ea38a6e2050e" providerId="LiveId" clId="{052D8AC5-C3A3-4A2B-B7EE-BE3DDD5DE9A1}" dt="2020-05-24T09:11:15.521" v="662" actId="20577"/>
          <ac:spMkLst>
            <pc:docMk/>
            <pc:sldMk cId="3507085319" sldId="292"/>
            <ac:spMk id="2" creationId="{12EE1D6F-D641-46EC-955E-A662FA8D3C5A}"/>
          </ac:spMkLst>
        </pc:spChg>
        <pc:spChg chg="add mod">
          <ac:chgData name="saverio romeo" userId="6ff4ea38a6e2050e" providerId="LiveId" clId="{052D8AC5-C3A3-4A2B-B7EE-BE3DDD5DE9A1}" dt="2020-05-24T21:12:34.091" v="10799" actId="20577"/>
          <ac:spMkLst>
            <pc:docMk/>
            <pc:sldMk cId="3507085319" sldId="292"/>
            <ac:spMk id="4" creationId="{F14017B9-9FDC-400F-80E8-1C46154EC976}"/>
          </ac:spMkLst>
        </pc:spChg>
      </pc:sldChg>
      <pc:sldChg chg="del">
        <pc:chgData name="saverio romeo" userId="6ff4ea38a6e2050e" providerId="LiveId" clId="{052D8AC5-C3A3-4A2B-B7EE-BE3DDD5DE9A1}" dt="2020-05-24T09:11:22.175" v="663" actId="47"/>
        <pc:sldMkLst>
          <pc:docMk/>
          <pc:sldMk cId="2573716908" sldId="293"/>
        </pc:sldMkLst>
      </pc:sldChg>
      <pc:sldChg chg="del">
        <pc:chgData name="saverio romeo" userId="6ff4ea38a6e2050e" providerId="LiveId" clId="{052D8AC5-C3A3-4A2B-B7EE-BE3DDD5DE9A1}" dt="2020-05-24T09:11:22.877" v="664" actId="47"/>
        <pc:sldMkLst>
          <pc:docMk/>
          <pc:sldMk cId="1466986832" sldId="294"/>
        </pc:sldMkLst>
      </pc:sldChg>
      <pc:sldChg chg="del">
        <pc:chgData name="saverio romeo" userId="6ff4ea38a6e2050e" providerId="LiveId" clId="{052D8AC5-C3A3-4A2B-B7EE-BE3DDD5DE9A1}" dt="2020-05-24T09:11:24.178" v="666" actId="47"/>
        <pc:sldMkLst>
          <pc:docMk/>
          <pc:sldMk cId="224923285" sldId="295"/>
        </pc:sldMkLst>
      </pc:sldChg>
      <pc:sldChg chg="del">
        <pc:chgData name="saverio romeo" userId="6ff4ea38a6e2050e" providerId="LiveId" clId="{052D8AC5-C3A3-4A2B-B7EE-BE3DDD5DE9A1}" dt="2020-05-24T09:11:23.556" v="665" actId="47"/>
        <pc:sldMkLst>
          <pc:docMk/>
          <pc:sldMk cId="1404637726" sldId="296"/>
        </pc:sldMkLst>
      </pc:sldChg>
      <pc:sldChg chg="del">
        <pc:chgData name="saverio romeo" userId="6ff4ea38a6e2050e" providerId="LiveId" clId="{052D8AC5-C3A3-4A2B-B7EE-BE3DDD5DE9A1}" dt="2020-05-24T09:11:24.747" v="667" actId="47"/>
        <pc:sldMkLst>
          <pc:docMk/>
          <pc:sldMk cId="3174830377" sldId="297"/>
        </pc:sldMkLst>
      </pc:sldChg>
      <pc:sldChg chg="del">
        <pc:chgData name="saverio romeo" userId="6ff4ea38a6e2050e" providerId="LiveId" clId="{052D8AC5-C3A3-4A2B-B7EE-BE3DDD5DE9A1}" dt="2020-05-24T09:11:25.254" v="668" actId="47"/>
        <pc:sldMkLst>
          <pc:docMk/>
          <pc:sldMk cId="4030193778" sldId="298"/>
        </pc:sldMkLst>
      </pc:sldChg>
      <pc:sldChg chg="del">
        <pc:chgData name="saverio romeo" userId="6ff4ea38a6e2050e" providerId="LiveId" clId="{052D8AC5-C3A3-4A2B-B7EE-BE3DDD5DE9A1}" dt="2020-05-24T09:11:26.218" v="670" actId="47"/>
        <pc:sldMkLst>
          <pc:docMk/>
          <pc:sldMk cId="399628986" sldId="299"/>
        </pc:sldMkLst>
      </pc:sldChg>
      <pc:sldChg chg="del">
        <pc:chgData name="saverio romeo" userId="6ff4ea38a6e2050e" providerId="LiveId" clId="{052D8AC5-C3A3-4A2B-B7EE-BE3DDD5DE9A1}" dt="2020-05-24T09:11:27.593" v="671" actId="47"/>
        <pc:sldMkLst>
          <pc:docMk/>
          <pc:sldMk cId="1263752721" sldId="300"/>
        </pc:sldMkLst>
      </pc:sldChg>
      <pc:sldChg chg="del">
        <pc:chgData name="saverio romeo" userId="6ff4ea38a6e2050e" providerId="LiveId" clId="{052D8AC5-C3A3-4A2B-B7EE-BE3DDD5DE9A1}" dt="2020-05-24T09:27:02.486" v="952" actId="47"/>
        <pc:sldMkLst>
          <pc:docMk/>
          <pc:sldMk cId="3057414462" sldId="301"/>
        </pc:sldMkLst>
      </pc:sldChg>
      <pc:sldChg chg="addSp modSp mod">
        <pc:chgData name="saverio romeo" userId="6ff4ea38a6e2050e" providerId="LiveId" clId="{052D8AC5-C3A3-4A2B-B7EE-BE3DDD5DE9A1}" dt="2020-05-24T21:13:13.756" v="10863" actId="20577"/>
        <pc:sldMkLst>
          <pc:docMk/>
          <pc:sldMk cId="1236718308" sldId="302"/>
        </pc:sldMkLst>
        <pc:spChg chg="mod">
          <ac:chgData name="saverio romeo" userId="6ff4ea38a6e2050e" providerId="LiveId" clId="{052D8AC5-C3A3-4A2B-B7EE-BE3DDD5DE9A1}" dt="2020-05-24T09:30:52.698" v="1193" actId="14100"/>
          <ac:spMkLst>
            <pc:docMk/>
            <pc:sldMk cId="1236718308" sldId="302"/>
            <ac:spMk id="2" creationId="{12EE1D6F-D641-46EC-955E-A662FA8D3C5A}"/>
          </ac:spMkLst>
        </pc:spChg>
        <pc:spChg chg="add mod">
          <ac:chgData name="saverio romeo" userId="6ff4ea38a6e2050e" providerId="LiveId" clId="{052D8AC5-C3A3-4A2B-B7EE-BE3DDD5DE9A1}" dt="2020-05-24T21:13:13.756" v="10863" actId="20577"/>
          <ac:spMkLst>
            <pc:docMk/>
            <pc:sldMk cId="1236718308" sldId="302"/>
            <ac:spMk id="32" creationId="{14315E7F-AA08-4111-8F44-30038CA1224E}"/>
          </ac:spMkLst>
        </pc:spChg>
      </pc:sldChg>
      <pc:sldChg chg="del">
        <pc:chgData name="saverio romeo" userId="6ff4ea38a6e2050e" providerId="LiveId" clId="{052D8AC5-C3A3-4A2B-B7EE-BE3DDD5DE9A1}" dt="2020-05-24T09:31:25.694" v="1194" actId="47"/>
        <pc:sldMkLst>
          <pc:docMk/>
          <pc:sldMk cId="1495152912" sldId="303"/>
        </pc:sldMkLst>
      </pc:sldChg>
      <pc:sldChg chg="addSp modSp mod">
        <pc:chgData name="saverio romeo" userId="6ff4ea38a6e2050e" providerId="LiveId" clId="{052D8AC5-C3A3-4A2B-B7EE-BE3DDD5DE9A1}" dt="2020-05-24T21:12:26.054" v="10787" actId="20577"/>
        <pc:sldMkLst>
          <pc:docMk/>
          <pc:sldMk cId="2598646892" sldId="304"/>
        </pc:sldMkLst>
        <pc:spChg chg="mod">
          <ac:chgData name="saverio romeo" userId="6ff4ea38a6e2050e" providerId="LiveId" clId="{052D8AC5-C3A3-4A2B-B7EE-BE3DDD5DE9A1}" dt="2020-05-24T09:11:06.378" v="654" actId="20577"/>
          <ac:spMkLst>
            <pc:docMk/>
            <pc:sldMk cId="2598646892" sldId="304"/>
            <ac:spMk id="2" creationId="{12EE1D6F-D641-46EC-955E-A662FA8D3C5A}"/>
          </ac:spMkLst>
        </pc:spChg>
        <pc:spChg chg="add mod">
          <ac:chgData name="saverio romeo" userId="6ff4ea38a6e2050e" providerId="LiveId" clId="{052D8AC5-C3A3-4A2B-B7EE-BE3DDD5DE9A1}" dt="2020-05-24T21:12:26.054" v="10787" actId="20577"/>
          <ac:spMkLst>
            <pc:docMk/>
            <pc:sldMk cId="2598646892" sldId="304"/>
            <ac:spMk id="55" creationId="{7D4B376E-235D-422E-90C7-3DC8F44D363B}"/>
          </ac:spMkLst>
        </pc:spChg>
      </pc:sldChg>
      <pc:sldChg chg="del">
        <pc:chgData name="saverio romeo" userId="6ff4ea38a6e2050e" providerId="LiveId" clId="{052D8AC5-C3A3-4A2B-B7EE-BE3DDD5DE9A1}" dt="2020-05-24T09:11:25.817" v="669" actId="47"/>
        <pc:sldMkLst>
          <pc:docMk/>
          <pc:sldMk cId="2223628261" sldId="305"/>
        </pc:sldMkLst>
      </pc:sldChg>
      <pc:sldChg chg="addSp modSp mod">
        <pc:chgData name="saverio romeo" userId="6ff4ea38a6e2050e" providerId="LiveId" clId="{052D8AC5-C3A3-4A2B-B7EE-BE3DDD5DE9A1}" dt="2020-05-24T21:12:59.601" v="10839" actId="20577"/>
        <pc:sldMkLst>
          <pc:docMk/>
          <pc:sldMk cId="3866574668" sldId="310"/>
        </pc:sldMkLst>
        <pc:spChg chg="add mod">
          <ac:chgData name="saverio romeo" userId="6ff4ea38a6e2050e" providerId="LiveId" clId="{052D8AC5-C3A3-4A2B-B7EE-BE3DDD5DE9A1}" dt="2020-05-24T21:12:59.601" v="10839" actId="20577"/>
          <ac:spMkLst>
            <pc:docMk/>
            <pc:sldMk cId="3866574668" sldId="310"/>
            <ac:spMk id="8" creationId="{1C3A98E5-E60E-465E-B11E-DEDCAFEFBBC1}"/>
          </ac:spMkLst>
        </pc:spChg>
      </pc:sldChg>
      <pc:sldChg chg="addSp modSp mod">
        <pc:chgData name="saverio romeo" userId="6ff4ea38a6e2050e" providerId="LiveId" clId="{052D8AC5-C3A3-4A2B-B7EE-BE3DDD5DE9A1}" dt="2020-05-24T21:13:06.276" v="10851" actId="20577"/>
        <pc:sldMkLst>
          <pc:docMk/>
          <pc:sldMk cId="2960205351" sldId="311"/>
        </pc:sldMkLst>
        <pc:spChg chg="mod">
          <ac:chgData name="saverio romeo" userId="6ff4ea38a6e2050e" providerId="LiveId" clId="{052D8AC5-C3A3-4A2B-B7EE-BE3DDD5DE9A1}" dt="2020-05-24T17:42:06.752" v="6542" actId="1076"/>
          <ac:spMkLst>
            <pc:docMk/>
            <pc:sldMk cId="2960205351" sldId="311"/>
            <ac:spMk id="2" creationId="{12EE1D6F-D641-46EC-955E-A662FA8D3C5A}"/>
          </ac:spMkLst>
        </pc:spChg>
        <pc:spChg chg="add mod">
          <ac:chgData name="saverio romeo" userId="6ff4ea38a6e2050e" providerId="LiveId" clId="{052D8AC5-C3A3-4A2B-B7EE-BE3DDD5DE9A1}" dt="2020-05-24T21:13:06.276" v="10851" actId="20577"/>
          <ac:spMkLst>
            <pc:docMk/>
            <pc:sldMk cId="2960205351" sldId="311"/>
            <ac:spMk id="14" creationId="{1218A026-B255-4BC1-AD36-332B0782B077}"/>
          </ac:spMkLst>
        </pc:spChg>
      </pc:sldChg>
      <pc:sldChg chg="del">
        <pc:chgData name="saverio romeo" userId="6ff4ea38a6e2050e" providerId="LiveId" clId="{052D8AC5-C3A3-4A2B-B7EE-BE3DDD5DE9A1}" dt="2020-05-24T09:31:32.125" v="1199" actId="47"/>
        <pc:sldMkLst>
          <pc:docMk/>
          <pc:sldMk cId="2085031189" sldId="312"/>
        </pc:sldMkLst>
      </pc:sldChg>
      <pc:sldChg chg="del">
        <pc:chgData name="saverio romeo" userId="6ff4ea38a6e2050e" providerId="LiveId" clId="{052D8AC5-C3A3-4A2B-B7EE-BE3DDD5DE9A1}" dt="2020-05-24T09:31:27.414" v="1195" actId="47"/>
        <pc:sldMkLst>
          <pc:docMk/>
          <pc:sldMk cId="2252786025" sldId="313"/>
        </pc:sldMkLst>
      </pc:sldChg>
      <pc:sldChg chg="del">
        <pc:chgData name="saverio romeo" userId="6ff4ea38a6e2050e" providerId="LiveId" clId="{052D8AC5-C3A3-4A2B-B7EE-BE3DDD5DE9A1}" dt="2020-05-24T09:31:28.031" v="1196" actId="47"/>
        <pc:sldMkLst>
          <pc:docMk/>
          <pc:sldMk cId="55775240" sldId="314"/>
        </pc:sldMkLst>
      </pc:sldChg>
      <pc:sldChg chg="del">
        <pc:chgData name="saverio romeo" userId="6ff4ea38a6e2050e" providerId="LiveId" clId="{052D8AC5-C3A3-4A2B-B7EE-BE3DDD5DE9A1}" dt="2020-05-24T09:31:29.033" v="1197" actId="47"/>
        <pc:sldMkLst>
          <pc:docMk/>
          <pc:sldMk cId="1595654298" sldId="315"/>
        </pc:sldMkLst>
      </pc:sldChg>
      <pc:sldChg chg="del">
        <pc:chgData name="saverio romeo" userId="6ff4ea38a6e2050e" providerId="LiveId" clId="{052D8AC5-C3A3-4A2B-B7EE-BE3DDD5DE9A1}" dt="2020-05-24T09:31:29.581" v="1198" actId="47"/>
        <pc:sldMkLst>
          <pc:docMk/>
          <pc:sldMk cId="1022443459" sldId="316"/>
        </pc:sldMkLst>
      </pc:sldChg>
      <pc:sldChg chg="addSp delSp modSp new mod">
        <pc:chgData name="saverio romeo" userId="6ff4ea38a6e2050e" providerId="LiveId" clId="{052D8AC5-C3A3-4A2B-B7EE-BE3DDD5DE9A1}" dt="2020-05-24T21:12:19.061" v="10775" actId="20577"/>
        <pc:sldMkLst>
          <pc:docMk/>
          <pc:sldMk cId="2219987513" sldId="317"/>
        </pc:sldMkLst>
        <pc:spChg chg="mod">
          <ac:chgData name="saverio romeo" userId="6ff4ea38a6e2050e" providerId="LiveId" clId="{052D8AC5-C3A3-4A2B-B7EE-BE3DDD5DE9A1}" dt="2020-05-24T09:04:09.042" v="13" actId="20577"/>
          <ac:spMkLst>
            <pc:docMk/>
            <pc:sldMk cId="2219987513" sldId="317"/>
            <ac:spMk id="2" creationId="{24F05F22-901B-4592-8925-F89D3BAA1B40}"/>
          </ac:spMkLst>
        </pc:spChg>
        <pc:spChg chg="del">
          <ac:chgData name="saverio romeo" userId="6ff4ea38a6e2050e" providerId="LiveId" clId="{052D8AC5-C3A3-4A2B-B7EE-BE3DDD5DE9A1}" dt="2020-05-24T09:04:14.092" v="14" actId="478"/>
          <ac:spMkLst>
            <pc:docMk/>
            <pc:sldMk cId="2219987513" sldId="317"/>
            <ac:spMk id="3" creationId="{3B8FA022-594A-4BBB-8535-494EA7CA1750}"/>
          </ac:spMkLst>
        </pc:spChg>
        <pc:spChg chg="add mod">
          <ac:chgData name="saverio romeo" userId="6ff4ea38a6e2050e" providerId="LiveId" clId="{052D8AC5-C3A3-4A2B-B7EE-BE3DDD5DE9A1}" dt="2020-05-24T09:04:50.034" v="23" actId="14100"/>
          <ac:spMkLst>
            <pc:docMk/>
            <pc:sldMk cId="2219987513" sldId="317"/>
            <ac:spMk id="4" creationId="{5750BCB4-20F1-4676-AF7B-3D501D029B4F}"/>
          </ac:spMkLst>
        </pc:spChg>
        <pc:spChg chg="add del">
          <ac:chgData name="saverio romeo" userId="6ff4ea38a6e2050e" providerId="LiveId" clId="{052D8AC5-C3A3-4A2B-B7EE-BE3DDD5DE9A1}" dt="2020-05-24T09:04:28.747" v="17" actId="478"/>
          <ac:spMkLst>
            <pc:docMk/>
            <pc:sldMk cId="2219987513" sldId="317"/>
            <ac:spMk id="5" creationId="{02B5C2B6-FACA-40C5-9153-E8A0E8F6A262}"/>
          </ac:spMkLst>
        </pc:spChg>
        <pc:spChg chg="add del">
          <ac:chgData name="saverio romeo" userId="6ff4ea38a6e2050e" providerId="LiveId" clId="{052D8AC5-C3A3-4A2B-B7EE-BE3DDD5DE9A1}" dt="2020-05-24T09:04:34.827" v="19" actId="478"/>
          <ac:spMkLst>
            <pc:docMk/>
            <pc:sldMk cId="2219987513" sldId="317"/>
            <ac:spMk id="6" creationId="{BB27DD4A-9680-488A-8087-D21BB03C0BB7}"/>
          </ac:spMkLst>
        </pc:spChg>
        <pc:spChg chg="add mod">
          <ac:chgData name="saverio romeo" userId="6ff4ea38a6e2050e" providerId="LiveId" clId="{052D8AC5-C3A3-4A2B-B7EE-BE3DDD5DE9A1}" dt="2020-05-24T09:04:56.949" v="25" actId="1076"/>
          <ac:spMkLst>
            <pc:docMk/>
            <pc:sldMk cId="2219987513" sldId="317"/>
            <ac:spMk id="7" creationId="{483E6C0B-C957-4915-B492-8D91FCC016D5}"/>
          </ac:spMkLst>
        </pc:spChg>
        <pc:spChg chg="add mod">
          <ac:chgData name="saverio romeo" userId="6ff4ea38a6e2050e" providerId="LiveId" clId="{052D8AC5-C3A3-4A2B-B7EE-BE3DDD5DE9A1}" dt="2020-05-24T21:12:19.061" v="10775" actId="20577"/>
          <ac:spMkLst>
            <pc:docMk/>
            <pc:sldMk cId="2219987513" sldId="317"/>
            <ac:spMk id="8" creationId="{279844FA-A0FF-4FC4-8965-C58D1EA350CD}"/>
          </ac:spMkLst>
        </pc:spChg>
        <pc:spChg chg="add mod">
          <ac:chgData name="saverio romeo" userId="6ff4ea38a6e2050e" providerId="LiveId" clId="{052D8AC5-C3A3-4A2B-B7EE-BE3DDD5DE9A1}" dt="2020-05-24T20:58:02.119" v="10601" actId="20577"/>
          <ac:spMkLst>
            <pc:docMk/>
            <pc:sldMk cId="2219987513" sldId="317"/>
            <ac:spMk id="9" creationId="{2EA95C1A-E67C-4015-9C50-04CF55B80FD1}"/>
          </ac:spMkLst>
        </pc:spChg>
        <pc:spChg chg="add mod">
          <ac:chgData name="saverio romeo" userId="6ff4ea38a6e2050e" providerId="LiveId" clId="{052D8AC5-C3A3-4A2B-B7EE-BE3DDD5DE9A1}" dt="2020-05-24T17:40:30.274" v="6528" actId="20577"/>
          <ac:spMkLst>
            <pc:docMk/>
            <pc:sldMk cId="2219987513" sldId="317"/>
            <ac:spMk id="10" creationId="{9C86C384-15F6-479B-8EB6-2A33861D70C1}"/>
          </ac:spMkLst>
        </pc:spChg>
      </pc:sldChg>
      <pc:sldChg chg="addSp delSp modSp add mod">
        <pc:chgData name="saverio romeo" userId="6ff4ea38a6e2050e" providerId="LiveId" clId="{052D8AC5-C3A3-4A2B-B7EE-BE3DDD5DE9A1}" dt="2020-05-24T21:12:40.871" v="10811" actId="20577"/>
        <pc:sldMkLst>
          <pc:docMk/>
          <pc:sldMk cId="661856317" sldId="318"/>
        </pc:sldMkLst>
        <pc:spChg chg="mod">
          <ac:chgData name="saverio romeo" userId="6ff4ea38a6e2050e" providerId="LiveId" clId="{052D8AC5-C3A3-4A2B-B7EE-BE3DDD5DE9A1}" dt="2020-05-24T09:12:36.222" v="859" actId="255"/>
          <ac:spMkLst>
            <pc:docMk/>
            <pc:sldMk cId="661856317" sldId="318"/>
            <ac:spMk id="2" creationId="{12EE1D6F-D641-46EC-955E-A662FA8D3C5A}"/>
          </ac:spMkLst>
        </pc:spChg>
        <pc:spChg chg="add mod">
          <ac:chgData name="saverio romeo" userId="6ff4ea38a6e2050e" providerId="LiveId" clId="{052D8AC5-C3A3-4A2B-B7EE-BE3DDD5DE9A1}" dt="2020-05-24T09:25:05.020" v="920" actId="20577"/>
          <ac:spMkLst>
            <pc:docMk/>
            <pc:sldMk cId="661856317" sldId="318"/>
            <ac:spMk id="3" creationId="{1924A085-D46E-43F8-BB1C-BAEA0EB543E0}"/>
          </ac:spMkLst>
        </pc:spChg>
        <pc:spChg chg="add mod">
          <ac:chgData name="saverio romeo" userId="6ff4ea38a6e2050e" providerId="LiveId" clId="{052D8AC5-C3A3-4A2B-B7EE-BE3DDD5DE9A1}" dt="2020-05-24T09:25:12.393" v="933" actId="20577"/>
          <ac:spMkLst>
            <pc:docMk/>
            <pc:sldMk cId="661856317" sldId="318"/>
            <ac:spMk id="4" creationId="{A9EEBE80-00CB-49B2-A159-05575868BFF9}"/>
          </ac:spMkLst>
        </pc:spChg>
        <pc:spChg chg="add mod">
          <ac:chgData name="saverio romeo" userId="6ff4ea38a6e2050e" providerId="LiveId" clId="{052D8AC5-C3A3-4A2B-B7EE-BE3DDD5DE9A1}" dt="2020-05-24T09:25:20.210" v="950" actId="20577"/>
          <ac:spMkLst>
            <pc:docMk/>
            <pc:sldMk cId="661856317" sldId="318"/>
            <ac:spMk id="5" creationId="{7996E594-4FEB-47C4-834C-C58FA39701B0}"/>
          </ac:spMkLst>
        </pc:spChg>
        <pc:spChg chg="add mod">
          <ac:chgData name="saverio romeo" userId="6ff4ea38a6e2050e" providerId="LiveId" clId="{052D8AC5-C3A3-4A2B-B7EE-BE3DDD5DE9A1}" dt="2020-05-24T21:12:40.871" v="10811" actId="20577"/>
          <ac:spMkLst>
            <pc:docMk/>
            <pc:sldMk cId="661856317" sldId="318"/>
            <ac:spMk id="7" creationId="{3F4DF4A1-11A0-4CFE-83C7-3CCA56E29ECD}"/>
          </ac:spMkLst>
        </pc:spChg>
        <pc:picChg chg="del">
          <ac:chgData name="saverio romeo" userId="6ff4ea38a6e2050e" providerId="LiveId" clId="{052D8AC5-C3A3-4A2B-B7EE-BE3DDD5DE9A1}" dt="2020-05-24T09:12:18.818" v="857" actId="478"/>
          <ac:picMkLst>
            <pc:docMk/>
            <pc:sldMk cId="661856317" sldId="318"/>
            <ac:picMk id="6" creationId="{8CC965EB-F7CA-4F01-ABC8-0F5BBA9E405D}"/>
          </ac:picMkLst>
        </pc:picChg>
      </pc:sldChg>
      <pc:sldChg chg="addSp delSp modSp new mod">
        <pc:chgData name="saverio romeo" userId="6ff4ea38a6e2050e" providerId="LiveId" clId="{052D8AC5-C3A3-4A2B-B7EE-BE3DDD5DE9A1}" dt="2020-05-24T20:58:13.215" v="10603" actId="20577"/>
        <pc:sldMkLst>
          <pc:docMk/>
          <pc:sldMk cId="513419933" sldId="319"/>
        </pc:sldMkLst>
        <pc:spChg chg="mod">
          <ac:chgData name="saverio romeo" userId="6ff4ea38a6e2050e" providerId="LiveId" clId="{052D8AC5-C3A3-4A2B-B7EE-BE3DDD5DE9A1}" dt="2020-05-24T09:48:02.370" v="1471" actId="20577"/>
          <ac:spMkLst>
            <pc:docMk/>
            <pc:sldMk cId="513419933" sldId="319"/>
            <ac:spMk id="2" creationId="{0DAA3C38-A598-4882-ACB3-B263F25E0DD8}"/>
          </ac:spMkLst>
        </pc:spChg>
        <pc:spChg chg="del">
          <ac:chgData name="saverio romeo" userId="6ff4ea38a6e2050e" providerId="LiveId" clId="{052D8AC5-C3A3-4A2B-B7EE-BE3DDD5DE9A1}" dt="2020-05-24T09:43:59.387" v="1263" actId="478"/>
          <ac:spMkLst>
            <pc:docMk/>
            <pc:sldMk cId="513419933" sldId="319"/>
            <ac:spMk id="3" creationId="{2F19D6C9-F21A-47CB-B7C6-C6FF918FE92A}"/>
          </ac:spMkLst>
        </pc:spChg>
        <pc:spChg chg="add mod">
          <ac:chgData name="saverio romeo" userId="6ff4ea38a6e2050e" providerId="LiveId" clId="{052D8AC5-C3A3-4A2B-B7EE-BE3DDD5DE9A1}" dt="2020-05-24T19:22:46.934" v="8843" actId="20577"/>
          <ac:spMkLst>
            <pc:docMk/>
            <pc:sldMk cId="513419933" sldId="319"/>
            <ac:spMk id="6" creationId="{300C2FAB-B793-4942-AFDD-48FC6D2C21E5}"/>
          </ac:spMkLst>
        </pc:spChg>
        <pc:spChg chg="add del mod">
          <ac:chgData name="saverio romeo" userId="6ff4ea38a6e2050e" providerId="LiveId" clId="{052D8AC5-C3A3-4A2B-B7EE-BE3DDD5DE9A1}" dt="2020-05-24T09:47:25.565" v="1463" actId="478"/>
          <ac:spMkLst>
            <pc:docMk/>
            <pc:sldMk cId="513419933" sldId="319"/>
            <ac:spMk id="6" creationId="{B6022BFA-9173-4F06-B33C-B4C1DC00488D}"/>
          </ac:spMkLst>
        </pc:spChg>
        <pc:spChg chg="add mod">
          <ac:chgData name="saverio romeo" userId="6ff4ea38a6e2050e" providerId="LiveId" clId="{052D8AC5-C3A3-4A2B-B7EE-BE3DDD5DE9A1}" dt="2020-05-24T20:58:13.215" v="10603" actId="20577"/>
          <ac:spMkLst>
            <pc:docMk/>
            <pc:sldMk cId="513419933" sldId="319"/>
            <ac:spMk id="7" creationId="{3F4D6090-77B3-4176-92DA-C0DBCA37F554}"/>
          </ac:spMkLst>
        </pc:spChg>
        <pc:spChg chg="add mod">
          <ac:chgData name="saverio romeo" userId="6ff4ea38a6e2050e" providerId="LiveId" clId="{052D8AC5-C3A3-4A2B-B7EE-BE3DDD5DE9A1}" dt="2020-05-24T19:16:44.357" v="8179" actId="1036"/>
          <ac:spMkLst>
            <pc:docMk/>
            <pc:sldMk cId="513419933" sldId="319"/>
            <ac:spMk id="8" creationId="{D82219AE-19F3-40C1-9333-39D9DE39EE8A}"/>
          </ac:spMkLst>
        </pc:spChg>
        <pc:graphicFrameChg chg="add del mod">
          <ac:chgData name="saverio romeo" userId="6ff4ea38a6e2050e" providerId="LiveId" clId="{052D8AC5-C3A3-4A2B-B7EE-BE3DDD5DE9A1}" dt="2020-05-24T09:45:42.170" v="1296" actId="478"/>
          <ac:graphicFrameMkLst>
            <pc:docMk/>
            <pc:sldMk cId="513419933" sldId="319"/>
            <ac:graphicFrameMk id="4" creationId="{10F550E2-AA3A-460D-BDD5-21E5F2D77485}"/>
          </ac:graphicFrameMkLst>
        </pc:graphicFrameChg>
        <pc:graphicFrameChg chg="add mod">
          <ac:chgData name="saverio romeo" userId="6ff4ea38a6e2050e" providerId="LiveId" clId="{052D8AC5-C3A3-4A2B-B7EE-BE3DDD5DE9A1}" dt="2020-05-24T09:47:01.551" v="1461" actId="20577"/>
          <ac:graphicFrameMkLst>
            <pc:docMk/>
            <pc:sldMk cId="513419933" sldId="319"/>
            <ac:graphicFrameMk id="5" creationId="{8E74C0AE-1FDE-4E7E-A679-397910166665}"/>
          </ac:graphicFrameMkLst>
        </pc:graphicFrameChg>
      </pc:sldChg>
      <pc:sldChg chg="add del">
        <pc:chgData name="saverio romeo" userId="6ff4ea38a6e2050e" providerId="LiveId" clId="{052D8AC5-C3A3-4A2B-B7EE-BE3DDD5DE9A1}" dt="2020-05-24T09:13:34.530" v="861" actId="47"/>
        <pc:sldMkLst>
          <pc:docMk/>
          <pc:sldMk cId="1551955525" sldId="319"/>
        </pc:sldMkLst>
      </pc:sldChg>
      <pc:sldChg chg="addSp modSp add mod">
        <pc:chgData name="saverio romeo" userId="6ff4ea38a6e2050e" providerId="LiveId" clId="{052D8AC5-C3A3-4A2B-B7EE-BE3DDD5DE9A1}" dt="2020-05-24T21:11:44.693" v="10763" actId="20577"/>
        <pc:sldMkLst>
          <pc:docMk/>
          <pc:sldMk cId="1115246210" sldId="320"/>
        </pc:sldMkLst>
        <pc:spChg chg="mod">
          <ac:chgData name="saverio romeo" userId="6ff4ea38a6e2050e" providerId="LiveId" clId="{052D8AC5-C3A3-4A2B-B7EE-BE3DDD5DE9A1}" dt="2020-05-24T09:49:04.342" v="1614" actId="20577"/>
          <ac:spMkLst>
            <pc:docMk/>
            <pc:sldMk cId="1115246210" sldId="320"/>
            <ac:spMk id="2" creationId="{0DAA3C38-A598-4882-ACB3-B263F25E0DD8}"/>
          </ac:spMkLst>
        </pc:spChg>
        <pc:spChg chg="add mod">
          <ac:chgData name="saverio romeo" userId="6ff4ea38a6e2050e" providerId="LiveId" clId="{052D8AC5-C3A3-4A2B-B7EE-BE3DDD5DE9A1}" dt="2020-05-24T21:11:44.693" v="10763" actId="20577"/>
          <ac:spMkLst>
            <pc:docMk/>
            <pc:sldMk cId="1115246210" sldId="320"/>
            <ac:spMk id="3" creationId="{45F31BAA-8334-4460-BC54-8AB5D3180D7A}"/>
          </ac:spMkLst>
        </pc:spChg>
        <pc:spChg chg="add mod">
          <ac:chgData name="saverio romeo" userId="6ff4ea38a6e2050e" providerId="LiveId" clId="{052D8AC5-C3A3-4A2B-B7EE-BE3DDD5DE9A1}" dt="2020-05-24T19:19:33.546" v="8405" actId="1076"/>
          <ac:spMkLst>
            <pc:docMk/>
            <pc:sldMk cId="1115246210" sldId="320"/>
            <ac:spMk id="4" creationId="{FDA759CA-D372-4951-8AFE-F0D9AB76DD31}"/>
          </ac:spMkLst>
        </pc:spChg>
        <pc:spChg chg="add mod">
          <ac:chgData name="saverio romeo" userId="6ff4ea38a6e2050e" providerId="LiveId" clId="{052D8AC5-C3A3-4A2B-B7EE-BE3DDD5DE9A1}" dt="2020-05-24T21:11:29.139" v="10761" actId="20577"/>
          <ac:spMkLst>
            <pc:docMk/>
            <pc:sldMk cId="1115246210" sldId="320"/>
            <ac:spMk id="6" creationId="{2411A063-0C04-4101-A549-341DD28A782D}"/>
          </ac:spMkLst>
        </pc:spChg>
        <pc:spChg chg="mod">
          <ac:chgData name="saverio romeo" userId="6ff4ea38a6e2050e" providerId="LiveId" clId="{052D8AC5-C3A3-4A2B-B7EE-BE3DDD5DE9A1}" dt="2020-05-24T20:58:17.723" v="10605" actId="20577"/>
          <ac:spMkLst>
            <pc:docMk/>
            <pc:sldMk cId="1115246210" sldId="320"/>
            <ac:spMk id="7" creationId="{3F4D6090-77B3-4176-92DA-C0DBCA37F554}"/>
          </ac:spMkLst>
        </pc:spChg>
        <pc:graphicFrameChg chg="mod">
          <ac:chgData name="saverio romeo" userId="6ff4ea38a6e2050e" providerId="LiveId" clId="{052D8AC5-C3A3-4A2B-B7EE-BE3DDD5DE9A1}" dt="2020-05-24T10:56:07.391" v="2741" actId="1076"/>
          <ac:graphicFrameMkLst>
            <pc:docMk/>
            <pc:sldMk cId="1115246210" sldId="320"/>
            <ac:graphicFrameMk id="5" creationId="{8E74C0AE-1FDE-4E7E-A679-397910166665}"/>
          </ac:graphicFrameMkLst>
        </pc:graphicFrameChg>
      </pc:sldChg>
      <pc:sldChg chg="addSp delSp modSp add mod">
        <pc:chgData name="saverio romeo" userId="6ff4ea38a6e2050e" providerId="LiveId" clId="{052D8AC5-C3A3-4A2B-B7EE-BE3DDD5DE9A1}" dt="2020-05-24T20:58:21.645" v="10607" actId="20577"/>
        <pc:sldMkLst>
          <pc:docMk/>
          <pc:sldMk cId="3223831681" sldId="321"/>
        </pc:sldMkLst>
        <pc:spChg chg="mod">
          <ac:chgData name="saverio romeo" userId="6ff4ea38a6e2050e" providerId="LiveId" clId="{052D8AC5-C3A3-4A2B-B7EE-BE3DDD5DE9A1}" dt="2020-05-24T11:04:29.049" v="4119" actId="20577"/>
          <ac:spMkLst>
            <pc:docMk/>
            <pc:sldMk cId="3223831681" sldId="321"/>
            <ac:spMk id="2" creationId="{0DAA3C38-A598-4882-ACB3-B263F25E0DD8}"/>
          </ac:spMkLst>
        </pc:spChg>
        <pc:spChg chg="add del">
          <ac:chgData name="saverio romeo" userId="6ff4ea38a6e2050e" providerId="LiveId" clId="{052D8AC5-C3A3-4A2B-B7EE-BE3DDD5DE9A1}" dt="2020-05-24T17:21:12.415" v="5076" actId="478"/>
          <ac:spMkLst>
            <pc:docMk/>
            <pc:sldMk cId="3223831681" sldId="321"/>
            <ac:spMk id="3" creationId="{191D0A2D-0FDA-4CF6-821B-36B2019A3EBD}"/>
          </ac:spMkLst>
        </pc:spChg>
        <pc:spChg chg="del">
          <ac:chgData name="saverio romeo" userId="6ff4ea38a6e2050e" providerId="LiveId" clId="{052D8AC5-C3A3-4A2B-B7EE-BE3DDD5DE9A1}" dt="2020-05-24T11:03:55.178" v="3996" actId="478"/>
          <ac:spMkLst>
            <pc:docMk/>
            <pc:sldMk cId="3223831681" sldId="321"/>
            <ac:spMk id="3" creationId="{45F31BAA-8334-4460-BC54-8AB5D3180D7A}"/>
          </ac:spMkLst>
        </pc:spChg>
        <pc:spChg chg="add mod">
          <ac:chgData name="saverio romeo" userId="6ff4ea38a6e2050e" providerId="LiveId" clId="{052D8AC5-C3A3-4A2B-B7EE-BE3DDD5DE9A1}" dt="2020-05-24T17:21:36.570" v="5081" actId="14100"/>
          <ac:spMkLst>
            <pc:docMk/>
            <pc:sldMk cId="3223831681" sldId="321"/>
            <ac:spMk id="4" creationId="{52CDDC60-19C6-46ED-8C10-F2E40240C81E}"/>
          </ac:spMkLst>
        </pc:spChg>
        <pc:spChg chg="add del mod">
          <ac:chgData name="saverio romeo" userId="6ff4ea38a6e2050e" providerId="LiveId" clId="{052D8AC5-C3A3-4A2B-B7EE-BE3DDD5DE9A1}" dt="2020-05-24T11:06:07.116" v="4142" actId="478"/>
          <ac:spMkLst>
            <pc:docMk/>
            <pc:sldMk cId="3223831681" sldId="321"/>
            <ac:spMk id="4" creationId="{5FCDAD52-1F33-4AF7-8DB0-9058CEDC6F44}"/>
          </ac:spMkLst>
        </pc:spChg>
        <pc:spChg chg="add mod">
          <ac:chgData name="saverio romeo" userId="6ff4ea38a6e2050e" providerId="LiveId" clId="{052D8AC5-C3A3-4A2B-B7EE-BE3DDD5DE9A1}" dt="2020-05-24T19:24:39.566" v="8975" actId="20577"/>
          <ac:spMkLst>
            <pc:docMk/>
            <pc:sldMk cId="3223831681" sldId="321"/>
            <ac:spMk id="6" creationId="{20D66249-3A4C-4B76-8D68-2823AE1B375C}"/>
          </ac:spMkLst>
        </pc:spChg>
        <pc:spChg chg="del">
          <ac:chgData name="saverio romeo" userId="6ff4ea38a6e2050e" providerId="LiveId" clId="{052D8AC5-C3A3-4A2B-B7EE-BE3DDD5DE9A1}" dt="2020-05-24T11:03:57.785" v="3997" actId="478"/>
          <ac:spMkLst>
            <pc:docMk/>
            <pc:sldMk cId="3223831681" sldId="321"/>
            <ac:spMk id="6" creationId="{2411A063-0C04-4101-A549-341DD28A782D}"/>
          </ac:spMkLst>
        </pc:spChg>
        <pc:spChg chg="mod">
          <ac:chgData name="saverio romeo" userId="6ff4ea38a6e2050e" providerId="LiveId" clId="{052D8AC5-C3A3-4A2B-B7EE-BE3DDD5DE9A1}" dt="2020-05-24T20:58:21.645" v="10607" actId="20577"/>
          <ac:spMkLst>
            <pc:docMk/>
            <pc:sldMk cId="3223831681" sldId="321"/>
            <ac:spMk id="7" creationId="{3F4D6090-77B3-4176-92DA-C0DBCA37F554}"/>
          </ac:spMkLst>
        </pc:spChg>
        <pc:graphicFrameChg chg="mod">
          <ac:chgData name="saverio romeo" userId="6ff4ea38a6e2050e" providerId="LiveId" clId="{052D8AC5-C3A3-4A2B-B7EE-BE3DDD5DE9A1}" dt="2020-05-24T17:20:43.010" v="5074" actId="1076"/>
          <ac:graphicFrameMkLst>
            <pc:docMk/>
            <pc:sldMk cId="3223831681" sldId="321"/>
            <ac:graphicFrameMk id="5" creationId="{8E74C0AE-1FDE-4E7E-A679-397910166665}"/>
          </ac:graphicFrameMkLst>
        </pc:graphicFrameChg>
        <pc:graphicFrameChg chg="add del mod">
          <ac:chgData name="saverio romeo" userId="6ff4ea38a6e2050e" providerId="LiveId" clId="{052D8AC5-C3A3-4A2B-B7EE-BE3DDD5DE9A1}" dt="2020-05-24T11:06:46.041" v="4144" actId="478"/>
          <ac:graphicFrameMkLst>
            <pc:docMk/>
            <pc:sldMk cId="3223831681" sldId="321"/>
            <ac:graphicFrameMk id="8" creationId="{91AC9646-49DC-4ED2-8C29-A3027C9ED0F9}"/>
          </ac:graphicFrameMkLst>
        </pc:graphicFrameChg>
        <pc:graphicFrameChg chg="add mod">
          <ac:chgData name="saverio romeo" userId="6ff4ea38a6e2050e" providerId="LiveId" clId="{052D8AC5-C3A3-4A2B-B7EE-BE3DDD5DE9A1}" dt="2020-05-24T17:20:28.051" v="5071" actId="1076"/>
          <ac:graphicFrameMkLst>
            <pc:docMk/>
            <pc:sldMk cId="3223831681" sldId="321"/>
            <ac:graphicFrameMk id="9" creationId="{0AF0149B-3E54-4AA1-88C0-38696B8AF5DD}"/>
          </ac:graphicFrameMkLst>
        </pc:graphicFrameChg>
      </pc:sldChg>
      <pc:sldChg chg="addSp delSp modSp add mod ord">
        <pc:chgData name="saverio romeo" userId="6ff4ea38a6e2050e" providerId="LiveId" clId="{052D8AC5-C3A3-4A2B-B7EE-BE3DDD5DE9A1}" dt="2020-05-24T17:52:47.010" v="6998"/>
        <pc:sldMkLst>
          <pc:docMk/>
          <pc:sldMk cId="152596910" sldId="322"/>
        </pc:sldMkLst>
        <pc:spChg chg="mod">
          <ac:chgData name="saverio romeo" userId="6ff4ea38a6e2050e" providerId="LiveId" clId="{052D8AC5-C3A3-4A2B-B7EE-BE3DDD5DE9A1}" dt="2020-05-24T17:39:11.512" v="6468" actId="1076"/>
          <ac:spMkLst>
            <pc:docMk/>
            <pc:sldMk cId="152596910" sldId="322"/>
            <ac:spMk id="2" creationId="{0DAA3C38-A598-4882-ACB3-B263F25E0DD8}"/>
          </ac:spMkLst>
        </pc:spChg>
        <pc:spChg chg="add mod">
          <ac:chgData name="saverio romeo" userId="6ff4ea38a6e2050e" providerId="LiveId" clId="{052D8AC5-C3A3-4A2B-B7EE-BE3DDD5DE9A1}" dt="2020-05-24T17:06:27.600" v="4575" actId="114"/>
          <ac:spMkLst>
            <pc:docMk/>
            <pc:sldMk cId="152596910" sldId="322"/>
            <ac:spMk id="5" creationId="{BE6C13EB-3CE9-4796-8B2F-8B19125343FB}"/>
          </ac:spMkLst>
        </pc:spChg>
        <pc:spChg chg="add mod">
          <ac:chgData name="saverio romeo" userId="6ff4ea38a6e2050e" providerId="LiveId" clId="{052D8AC5-C3A3-4A2B-B7EE-BE3DDD5DE9A1}" dt="2020-05-24T17:08:59.650" v="4578" actId="1076"/>
          <ac:spMkLst>
            <pc:docMk/>
            <pc:sldMk cId="152596910" sldId="322"/>
            <ac:spMk id="6" creationId="{93A667D2-9BA7-4AD5-B070-40EBC3BE5C3C}"/>
          </ac:spMkLst>
        </pc:spChg>
        <pc:spChg chg="del">
          <ac:chgData name="saverio romeo" userId="6ff4ea38a6e2050e" providerId="LiveId" clId="{052D8AC5-C3A3-4A2B-B7EE-BE3DDD5DE9A1}" dt="2020-05-24T17:19:20.636" v="5067" actId="478"/>
          <ac:spMkLst>
            <pc:docMk/>
            <pc:sldMk cId="152596910" sldId="322"/>
            <ac:spMk id="7" creationId="{3F4D6090-77B3-4176-92DA-C0DBCA37F554}"/>
          </ac:spMkLst>
        </pc:spChg>
        <pc:spChg chg="add mod">
          <ac:chgData name="saverio romeo" userId="6ff4ea38a6e2050e" providerId="LiveId" clId="{052D8AC5-C3A3-4A2B-B7EE-BE3DDD5DE9A1}" dt="2020-05-24T17:10:18.028" v="4654" actId="113"/>
          <ac:spMkLst>
            <pc:docMk/>
            <pc:sldMk cId="152596910" sldId="322"/>
            <ac:spMk id="8" creationId="{C6586ACA-D705-4B81-A870-065823E00DE2}"/>
          </ac:spMkLst>
        </pc:spChg>
        <pc:spChg chg="add del mod">
          <ac:chgData name="saverio romeo" userId="6ff4ea38a6e2050e" providerId="LiveId" clId="{052D8AC5-C3A3-4A2B-B7EE-BE3DDD5DE9A1}" dt="2020-05-24T17:40:50.440" v="6530" actId="478"/>
          <ac:spMkLst>
            <pc:docMk/>
            <pc:sldMk cId="152596910" sldId="322"/>
            <ac:spMk id="9" creationId="{EEA08A55-5553-44C8-AC5C-B525DC984FE3}"/>
          </ac:spMkLst>
        </pc:spChg>
        <pc:spChg chg="add mod">
          <ac:chgData name="saverio romeo" userId="6ff4ea38a6e2050e" providerId="LiveId" clId="{052D8AC5-C3A3-4A2B-B7EE-BE3DDD5DE9A1}" dt="2020-05-24T17:41:18.439" v="6534" actId="1076"/>
          <ac:spMkLst>
            <pc:docMk/>
            <pc:sldMk cId="152596910" sldId="322"/>
            <ac:spMk id="10" creationId="{B76CB116-2563-4905-A024-48B2031A7B03}"/>
          </ac:spMkLst>
        </pc:spChg>
        <pc:graphicFrameChg chg="del">
          <ac:chgData name="saverio romeo" userId="6ff4ea38a6e2050e" providerId="LiveId" clId="{052D8AC5-C3A3-4A2B-B7EE-BE3DDD5DE9A1}" dt="2020-05-24T11:17:28.746" v="4377" actId="478"/>
          <ac:graphicFrameMkLst>
            <pc:docMk/>
            <pc:sldMk cId="152596910" sldId="322"/>
            <ac:graphicFrameMk id="5" creationId="{8E74C0AE-1FDE-4E7E-A679-397910166665}"/>
          </ac:graphicFrameMkLst>
        </pc:graphicFrameChg>
        <pc:graphicFrameChg chg="del mod">
          <ac:chgData name="saverio romeo" userId="6ff4ea38a6e2050e" providerId="LiveId" clId="{052D8AC5-C3A3-4A2B-B7EE-BE3DDD5DE9A1}" dt="2020-05-24T11:17:52.794" v="4484" actId="478"/>
          <ac:graphicFrameMkLst>
            <pc:docMk/>
            <pc:sldMk cId="152596910" sldId="322"/>
            <ac:graphicFrameMk id="9" creationId="{0AF0149B-3E54-4AA1-88C0-38696B8AF5DD}"/>
          </ac:graphicFrameMkLst>
        </pc:graphicFrameChg>
        <pc:picChg chg="add mod">
          <ac:chgData name="saverio romeo" userId="6ff4ea38a6e2050e" providerId="LiveId" clId="{052D8AC5-C3A3-4A2B-B7EE-BE3DDD5DE9A1}" dt="2020-05-24T17:07:17.668" v="4576" actId="1076"/>
          <ac:picMkLst>
            <pc:docMk/>
            <pc:sldMk cId="152596910" sldId="322"/>
            <ac:picMk id="4" creationId="{3792D06F-54C6-4FD3-A744-7DA98F69BE24}"/>
          </ac:picMkLst>
        </pc:picChg>
      </pc:sldChg>
      <pc:sldChg chg="addSp delSp modSp add mod">
        <pc:chgData name="saverio romeo" userId="6ff4ea38a6e2050e" providerId="LiveId" clId="{052D8AC5-C3A3-4A2B-B7EE-BE3DDD5DE9A1}" dt="2020-05-24T19:24:33.439" v="8968" actId="20577"/>
        <pc:sldMkLst>
          <pc:docMk/>
          <pc:sldMk cId="352399242" sldId="323"/>
        </pc:sldMkLst>
        <pc:spChg chg="mod">
          <ac:chgData name="saverio romeo" userId="6ff4ea38a6e2050e" providerId="LiveId" clId="{052D8AC5-C3A3-4A2B-B7EE-BE3DDD5DE9A1}" dt="2020-05-24T17:10:52.331" v="4760" actId="20577"/>
          <ac:spMkLst>
            <pc:docMk/>
            <pc:sldMk cId="352399242" sldId="323"/>
            <ac:spMk id="2" creationId="{0DAA3C38-A598-4882-ACB3-B263F25E0DD8}"/>
          </ac:spMkLst>
        </pc:spChg>
        <pc:spChg chg="del">
          <ac:chgData name="saverio romeo" userId="6ff4ea38a6e2050e" providerId="LiveId" clId="{052D8AC5-C3A3-4A2B-B7EE-BE3DDD5DE9A1}" dt="2020-05-24T17:10:59.488" v="4762" actId="478"/>
          <ac:spMkLst>
            <pc:docMk/>
            <pc:sldMk cId="352399242" sldId="323"/>
            <ac:spMk id="5" creationId="{BE6C13EB-3CE9-4796-8B2F-8B19125343FB}"/>
          </ac:spMkLst>
        </pc:spChg>
        <pc:spChg chg="del">
          <ac:chgData name="saverio romeo" userId="6ff4ea38a6e2050e" providerId="LiveId" clId="{052D8AC5-C3A3-4A2B-B7EE-BE3DDD5DE9A1}" dt="2020-05-24T17:16:57.042" v="5037" actId="478"/>
          <ac:spMkLst>
            <pc:docMk/>
            <pc:sldMk cId="352399242" sldId="323"/>
            <ac:spMk id="6" creationId="{93A667D2-9BA7-4AD5-B070-40EBC3BE5C3C}"/>
          </ac:spMkLst>
        </pc:spChg>
        <pc:spChg chg="mod">
          <ac:chgData name="saverio romeo" userId="6ff4ea38a6e2050e" providerId="LiveId" clId="{052D8AC5-C3A3-4A2B-B7EE-BE3DDD5DE9A1}" dt="2020-05-24T17:41:28.898" v="6536" actId="1076"/>
          <ac:spMkLst>
            <pc:docMk/>
            <pc:sldMk cId="352399242" sldId="323"/>
            <ac:spMk id="7" creationId="{3F4D6090-77B3-4176-92DA-C0DBCA37F554}"/>
          </ac:spMkLst>
        </pc:spChg>
        <pc:spChg chg="del">
          <ac:chgData name="saverio romeo" userId="6ff4ea38a6e2050e" providerId="LiveId" clId="{052D8AC5-C3A3-4A2B-B7EE-BE3DDD5DE9A1}" dt="2020-05-24T17:17:01.300" v="5038" actId="478"/>
          <ac:spMkLst>
            <pc:docMk/>
            <pc:sldMk cId="352399242" sldId="323"/>
            <ac:spMk id="8" creationId="{C6586ACA-D705-4B81-A870-065823E00DE2}"/>
          </ac:spMkLst>
        </pc:spChg>
        <pc:spChg chg="add mod">
          <ac:chgData name="saverio romeo" userId="6ff4ea38a6e2050e" providerId="LiveId" clId="{052D8AC5-C3A3-4A2B-B7EE-BE3DDD5DE9A1}" dt="2020-05-24T17:24:33.636" v="5390" actId="14100"/>
          <ac:spMkLst>
            <pc:docMk/>
            <pc:sldMk cId="352399242" sldId="323"/>
            <ac:spMk id="12" creationId="{5B9B7071-2CC6-4A9D-A90D-31E5CD782B4E}"/>
          </ac:spMkLst>
        </pc:spChg>
        <pc:spChg chg="add mod">
          <ac:chgData name="saverio romeo" userId="6ff4ea38a6e2050e" providerId="LiveId" clId="{052D8AC5-C3A3-4A2B-B7EE-BE3DDD5DE9A1}" dt="2020-05-24T19:24:33.439" v="8968" actId="20577"/>
          <ac:spMkLst>
            <pc:docMk/>
            <pc:sldMk cId="352399242" sldId="323"/>
            <ac:spMk id="13" creationId="{5528B045-EE0D-4A84-B08F-C4CCF2C29297}"/>
          </ac:spMkLst>
        </pc:spChg>
        <pc:graphicFrameChg chg="add del mod">
          <ac:chgData name="saverio romeo" userId="6ff4ea38a6e2050e" providerId="LiveId" clId="{052D8AC5-C3A3-4A2B-B7EE-BE3DDD5DE9A1}" dt="2020-05-24T17:16:53.590" v="5036" actId="478"/>
          <ac:graphicFrameMkLst>
            <pc:docMk/>
            <pc:sldMk cId="352399242" sldId="323"/>
            <ac:graphicFrameMk id="3" creationId="{33FE2079-9344-4249-8CFE-1E960FC43A54}"/>
          </ac:graphicFrameMkLst>
        </pc:graphicFrameChg>
        <pc:graphicFrameChg chg="add mod">
          <ac:chgData name="saverio romeo" userId="6ff4ea38a6e2050e" providerId="LiveId" clId="{052D8AC5-C3A3-4A2B-B7EE-BE3DDD5DE9A1}" dt="2020-05-24T17:21:52.043" v="5082"/>
          <ac:graphicFrameMkLst>
            <pc:docMk/>
            <pc:sldMk cId="352399242" sldId="323"/>
            <ac:graphicFrameMk id="9" creationId="{B1CFA651-3713-4C5A-BEEB-2575310AC761}"/>
          </ac:graphicFrameMkLst>
        </pc:graphicFrameChg>
        <pc:graphicFrameChg chg="add mod">
          <ac:chgData name="saverio romeo" userId="6ff4ea38a6e2050e" providerId="LiveId" clId="{052D8AC5-C3A3-4A2B-B7EE-BE3DDD5DE9A1}" dt="2020-05-24T17:24:20.917" v="5387" actId="1076"/>
          <ac:graphicFrameMkLst>
            <pc:docMk/>
            <pc:sldMk cId="352399242" sldId="323"/>
            <ac:graphicFrameMk id="10" creationId="{585B446C-37EE-4628-A6B2-066D3E564D16}"/>
          </ac:graphicFrameMkLst>
        </pc:graphicFrameChg>
        <pc:graphicFrameChg chg="add del mod">
          <ac:chgData name="saverio romeo" userId="6ff4ea38a6e2050e" providerId="LiveId" clId="{052D8AC5-C3A3-4A2B-B7EE-BE3DDD5DE9A1}" dt="2020-05-24T17:22:13.624" v="5085" actId="478"/>
          <ac:graphicFrameMkLst>
            <pc:docMk/>
            <pc:sldMk cId="352399242" sldId="323"/>
            <ac:graphicFrameMk id="11" creationId="{C7077F0A-5A97-4ABE-B828-980DD478A25C}"/>
          </ac:graphicFrameMkLst>
        </pc:graphicFrameChg>
        <pc:picChg chg="del">
          <ac:chgData name="saverio romeo" userId="6ff4ea38a6e2050e" providerId="LiveId" clId="{052D8AC5-C3A3-4A2B-B7EE-BE3DDD5DE9A1}" dt="2020-05-24T17:10:55.225" v="4761" actId="478"/>
          <ac:picMkLst>
            <pc:docMk/>
            <pc:sldMk cId="352399242" sldId="323"/>
            <ac:picMk id="4" creationId="{3792D06F-54C6-4FD3-A744-7DA98F69BE24}"/>
          </ac:picMkLst>
        </pc:picChg>
      </pc:sldChg>
      <pc:sldChg chg="addSp delSp modSp new mod">
        <pc:chgData name="saverio romeo" userId="6ff4ea38a6e2050e" providerId="LiveId" clId="{052D8AC5-C3A3-4A2B-B7EE-BE3DDD5DE9A1}" dt="2020-05-24T19:24:51.982" v="8993" actId="20577"/>
        <pc:sldMkLst>
          <pc:docMk/>
          <pc:sldMk cId="2421702677" sldId="324"/>
        </pc:sldMkLst>
        <pc:spChg chg="mod">
          <ac:chgData name="saverio romeo" userId="6ff4ea38a6e2050e" providerId="LiveId" clId="{052D8AC5-C3A3-4A2B-B7EE-BE3DDD5DE9A1}" dt="2020-05-24T17:52:24.474" v="6991" actId="27636"/>
          <ac:spMkLst>
            <pc:docMk/>
            <pc:sldMk cId="2421702677" sldId="324"/>
            <ac:spMk id="2" creationId="{5298A5F7-E66E-4E1A-97A5-9EE844DB8B49}"/>
          </ac:spMkLst>
        </pc:spChg>
        <pc:spChg chg="del">
          <ac:chgData name="saverio romeo" userId="6ff4ea38a6e2050e" providerId="LiveId" clId="{052D8AC5-C3A3-4A2B-B7EE-BE3DDD5DE9A1}" dt="2020-05-24T17:28:52.971" v="5656" actId="1032"/>
          <ac:spMkLst>
            <pc:docMk/>
            <pc:sldMk cId="2421702677" sldId="324"/>
            <ac:spMk id="3" creationId="{AB276B17-8711-4C0E-BC5C-CA5E48245EF9}"/>
          </ac:spMkLst>
        </pc:spChg>
        <pc:spChg chg="add del mod">
          <ac:chgData name="saverio romeo" userId="6ff4ea38a6e2050e" providerId="LiveId" clId="{052D8AC5-C3A3-4A2B-B7EE-BE3DDD5DE9A1}" dt="2020-05-24T17:40:46.110" v="6529" actId="478"/>
          <ac:spMkLst>
            <pc:docMk/>
            <pc:sldMk cId="2421702677" sldId="324"/>
            <ac:spMk id="4" creationId="{76ACB90D-408D-4A45-A19C-3DFBA578F582}"/>
          </ac:spMkLst>
        </pc:spChg>
        <pc:spChg chg="add mod">
          <ac:chgData name="saverio romeo" userId="6ff4ea38a6e2050e" providerId="LiveId" clId="{052D8AC5-C3A3-4A2B-B7EE-BE3DDD5DE9A1}" dt="2020-05-24T17:52:31.227" v="6992" actId="1076"/>
          <ac:spMkLst>
            <pc:docMk/>
            <pc:sldMk cId="2421702677" sldId="324"/>
            <ac:spMk id="7" creationId="{5A4E2F50-46C9-4BFD-BB01-2B5E93F01666}"/>
          </ac:spMkLst>
        </pc:spChg>
        <pc:spChg chg="add mod">
          <ac:chgData name="saverio romeo" userId="6ff4ea38a6e2050e" providerId="LiveId" clId="{052D8AC5-C3A3-4A2B-B7EE-BE3DDD5DE9A1}" dt="2020-05-24T19:24:51.982" v="8993" actId="20577"/>
          <ac:spMkLst>
            <pc:docMk/>
            <pc:sldMk cId="2421702677" sldId="324"/>
            <ac:spMk id="8" creationId="{FC7199F8-A5AC-4123-B3DB-8049FF4CA62D}"/>
          </ac:spMkLst>
        </pc:spChg>
        <pc:graphicFrameChg chg="add mod">
          <ac:chgData name="saverio romeo" userId="6ff4ea38a6e2050e" providerId="LiveId" clId="{052D8AC5-C3A3-4A2B-B7EE-BE3DDD5DE9A1}" dt="2020-05-24T17:38:30.134" v="6387" actId="20577"/>
          <ac:graphicFrameMkLst>
            <pc:docMk/>
            <pc:sldMk cId="2421702677" sldId="324"/>
            <ac:graphicFrameMk id="5" creationId="{BB28D18D-E3EF-4D3B-8D22-01D1A5B1A4D3}"/>
          </ac:graphicFrameMkLst>
        </pc:graphicFrameChg>
        <pc:graphicFrameChg chg="add del mod">
          <ac:chgData name="saverio romeo" userId="6ff4ea38a6e2050e" providerId="LiveId" clId="{052D8AC5-C3A3-4A2B-B7EE-BE3DDD5DE9A1}" dt="2020-05-24T17:33:05.321" v="6024" actId="478"/>
          <ac:graphicFrameMkLst>
            <pc:docMk/>
            <pc:sldMk cId="2421702677" sldId="324"/>
            <ac:graphicFrameMk id="6" creationId="{A89E84A6-60CF-4956-8A67-AD0F36A4814A}"/>
          </ac:graphicFrameMkLst>
        </pc:graphicFrameChg>
      </pc:sldChg>
      <pc:sldChg chg="addSp delSp modSp add mod ord">
        <pc:chgData name="saverio romeo" userId="6ff4ea38a6e2050e" providerId="LiveId" clId="{052D8AC5-C3A3-4A2B-B7EE-BE3DDD5DE9A1}" dt="2020-05-24T19:24:58.684" v="9013" actId="20577"/>
        <pc:sldMkLst>
          <pc:docMk/>
          <pc:sldMk cId="2152583874" sldId="325"/>
        </pc:sldMkLst>
        <pc:spChg chg="mod">
          <ac:chgData name="saverio romeo" userId="6ff4ea38a6e2050e" providerId="LiveId" clId="{052D8AC5-C3A3-4A2B-B7EE-BE3DDD5DE9A1}" dt="2020-05-24T17:55:17.632" v="7163" actId="1076"/>
          <ac:spMkLst>
            <pc:docMk/>
            <pc:sldMk cId="2152583874" sldId="325"/>
            <ac:spMk id="2" creationId="{0DAA3C38-A598-4882-ACB3-B263F25E0DD8}"/>
          </ac:spMkLst>
        </pc:spChg>
        <pc:spChg chg="del">
          <ac:chgData name="saverio romeo" userId="6ff4ea38a6e2050e" providerId="LiveId" clId="{052D8AC5-C3A3-4A2B-B7EE-BE3DDD5DE9A1}" dt="2020-05-24T17:43:42.725" v="6555" actId="478"/>
          <ac:spMkLst>
            <pc:docMk/>
            <pc:sldMk cId="2152583874" sldId="325"/>
            <ac:spMk id="5" creationId="{BE6C13EB-3CE9-4796-8B2F-8B19125343FB}"/>
          </ac:spMkLst>
        </pc:spChg>
        <pc:spChg chg="del">
          <ac:chgData name="saverio romeo" userId="6ff4ea38a6e2050e" providerId="LiveId" clId="{052D8AC5-C3A3-4A2B-B7EE-BE3DDD5DE9A1}" dt="2020-05-24T17:43:36.796" v="6553" actId="478"/>
          <ac:spMkLst>
            <pc:docMk/>
            <pc:sldMk cId="2152583874" sldId="325"/>
            <ac:spMk id="6" creationId="{93A667D2-9BA7-4AD5-B070-40EBC3BE5C3C}"/>
          </ac:spMkLst>
        </pc:spChg>
        <pc:spChg chg="del">
          <ac:chgData name="saverio romeo" userId="6ff4ea38a6e2050e" providerId="LiveId" clId="{052D8AC5-C3A3-4A2B-B7EE-BE3DDD5DE9A1}" dt="2020-05-24T17:43:39.966" v="6554" actId="478"/>
          <ac:spMkLst>
            <pc:docMk/>
            <pc:sldMk cId="2152583874" sldId="325"/>
            <ac:spMk id="8" creationId="{C6586ACA-D705-4B81-A870-065823E00DE2}"/>
          </ac:spMkLst>
        </pc:spChg>
        <pc:spChg chg="mod">
          <ac:chgData name="saverio romeo" userId="6ff4ea38a6e2050e" providerId="LiveId" clId="{052D8AC5-C3A3-4A2B-B7EE-BE3DDD5DE9A1}" dt="2020-05-24T17:51:35.922" v="6965" actId="1076"/>
          <ac:spMkLst>
            <pc:docMk/>
            <pc:sldMk cId="2152583874" sldId="325"/>
            <ac:spMk id="10" creationId="{B76CB116-2563-4905-A024-48B2031A7B03}"/>
          </ac:spMkLst>
        </pc:spChg>
        <pc:spChg chg="add mod">
          <ac:chgData name="saverio romeo" userId="6ff4ea38a6e2050e" providerId="LiveId" clId="{052D8AC5-C3A3-4A2B-B7EE-BE3DDD5DE9A1}" dt="2020-05-24T19:24:58.684" v="9013" actId="20577"/>
          <ac:spMkLst>
            <pc:docMk/>
            <pc:sldMk cId="2152583874" sldId="325"/>
            <ac:spMk id="11" creationId="{AADCF851-6941-493E-9D7E-4567803BFE37}"/>
          </ac:spMkLst>
        </pc:spChg>
        <pc:graphicFrameChg chg="add mod">
          <ac:chgData name="saverio romeo" userId="6ff4ea38a6e2050e" providerId="LiveId" clId="{052D8AC5-C3A3-4A2B-B7EE-BE3DDD5DE9A1}" dt="2020-05-24T19:14:33.571" v="8128" actId="207"/>
          <ac:graphicFrameMkLst>
            <pc:docMk/>
            <pc:sldMk cId="2152583874" sldId="325"/>
            <ac:graphicFrameMk id="3" creationId="{0628AC4D-00A5-4049-8986-C71B52592E23}"/>
          </ac:graphicFrameMkLst>
        </pc:graphicFrameChg>
        <pc:graphicFrameChg chg="add del mod">
          <ac:chgData name="saverio romeo" userId="6ff4ea38a6e2050e" providerId="LiveId" clId="{052D8AC5-C3A3-4A2B-B7EE-BE3DDD5DE9A1}" dt="2020-05-24T19:13:21.536" v="8117" actId="478"/>
          <ac:graphicFrameMkLst>
            <pc:docMk/>
            <pc:sldMk cId="2152583874" sldId="325"/>
            <ac:graphicFrameMk id="7" creationId="{BB674FFF-7863-4556-A1B1-D8873A4D60BE}"/>
          </ac:graphicFrameMkLst>
        </pc:graphicFrameChg>
        <pc:picChg chg="del">
          <ac:chgData name="saverio romeo" userId="6ff4ea38a6e2050e" providerId="LiveId" clId="{052D8AC5-C3A3-4A2B-B7EE-BE3DDD5DE9A1}" dt="2020-05-24T17:43:32.522" v="6552" actId="478"/>
          <ac:picMkLst>
            <pc:docMk/>
            <pc:sldMk cId="2152583874" sldId="325"/>
            <ac:picMk id="4" creationId="{3792D06F-54C6-4FD3-A744-7DA98F69BE24}"/>
          </ac:picMkLst>
        </pc:picChg>
      </pc:sldChg>
      <pc:sldChg chg="addSp delSp modSp add mod">
        <pc:chgData name="saverio romeo" userId="6ff4ea38a6e2050e" providerId="LiveId" clId="{052D8AC5-C3A3-4A2B-B7EE-BE3DDD5DE9A1}" dt="2020-05-24T21:31:10.362" v="10889" actId="20577"/>
        <pc:sldMkLst>
          <pc:docMk/>
          <pc:sldMk cId="1105782657" sldId="326"/>
        </pc:sldMkLst>
        <pc:spChg chg="mod">
          <ac:chgData name="saverio romeo" userId="6ff4ea38a6e2050e" providerId="LiveId" clId="{052D8AC5-C3A3-4A2B-B7EE-BE3DDD5DE9A1}" dt="2020-05-24T19:33:15.367" v="9970" actId="1076"/>
          <ac:spMkLst>
            <pc:docMk/>
            <pc:sldMk cId="1105782657" sldId="326"/>
            <ac:spMk id="2" creationId="{24F05F22-901B-4592-8925-F89D3BAA1B40}"/>
          </ac:spMkLst>
        </pc:spChg>
        <pc:spChg chg="add mod">
          <ac:chgData name="saverio romeo" userId="6ff4ea38a6e2050e" providerId="LiveId" clId="{052D8AC5-C3A3-4A2B-B7EE-BE3DDD5DE9A1}" dt="2020-05-24T19:33:11.523" v="9969" actId="1076"/>
          <ac:spMkLst>
            <pc:docMk/>
            <pc:sldMk cId="1105782657" sldId="326"/>
            <ac:spMk id="3" creationId="{EC4E280E-D929-4740-856E-8DA9B1804A0A}"/>
          </ac:spMkLst>
        </pc:spChg>
        <pc:spChg chg="mod">
          <ac:chgData name="saverio romeo" userId="6ff4ea38a6e2050e" providerId="LiveId" clId="{052D8AC5-C3A3-4A2B-B7EE-BE3DDD5DE9A1}" dt="2020-05-24T19:32:40.593" v="9962" actId="1076"/>
          <ac:spMkLst>
            <pc:docMk/>
            <pc:sldMk cId="1105782657" sldId="326"/>
            <ac:spMk id="4" creationId="{5750BCB4-20F1-4676-AF7B-3D501D029B4F}"/>
          </ac:spMkLst>
        </pc:spChg>
        <pc:spChg chg="add del mod">
          <ac:chgData name="saverio romeo" userId="6ff4ea38a6e2050e" providerId="LiveId" clId="{052D8AC5-C3A3-4A2B-B7EE-BE3DDD5DE9A1}" dt="2020-05-24T19:30:56.927" v="9907" actId="478"/>
          <ac:spMkLst>
            <pc:docMk/>
            <pc:sldMk cId="1105782657" sldId="326"/>
            <ac:spMk id="5" creationId="{36B0233F-FBC4-4119-982F-AC6268E87728}"/>
          </ac:spMkLst>
        </pc:spChg>
        <pc:spChg chg="add mod">
          <ac:chgData name="saverio romeo" userId="6ff4ea38a6e2050e" providerId="LiveId" clId="{052D8AC5-C3A3-4A2B-B7EE-BE3DDD5DE9A1}" dt="2020-05-24T20:58:44.520" v="10618" actId="20577"/>
          <ac:spMkLst>
            <pc:docMk/>
            <pc:sldMk cId="1105782657" sldId="326"/>
            <ac:spMk id="6" creationId="{A0F255CF-D9FB-4F01-8331-3BA3EFF430F0}"/>
          </ac:spMkLst>
        </pc:spChg>
        <pc:spChg chg="mod">
          <ac:chgData name="saverio romeo" userId="6ff4ea38a6e2050e" providerId="LiveId" clId="{052D8AC5-C3A3-4A2B-B7EE-BE3DDD5DE9A1}" dt="2020-05-24T19:32:55.829" v="9966" actId="1076"/>
          <ac:spMkLst>
            <pc:docMk/>
            <pc:sldMk cId="1105782657" sldId="326"/>
            <ac:spMk id="7" creationId="{483E6C0B-C957-4915-B492-8D91FCC016D5}"/>
          </ac:spMkLst>
        </pc:spChg>
        <pc:spChg chg="mod">
          <ac:chgData name="saverio romeo" userId="6ff4ea38a6e2050e" providerId="LiveId" clId="{052D8AC5-C3A3-4A2B-B7EE-BE3DDD5DE9A1}" dt="2020-05-24T21:31:00.715" v="10875" actId="20577"/>
          <ac:spMkLst>
            <pc:docMk/>
            <pc:sldMk cId="1105782657" sldId="326"/>
            <ac:spMk id="8" creationId="{279844FA-A0FF-4FC4-8965-C58D1EA350CD}"/>
          </ac:spMkLst>
        </pc:spChg>
        <pc:spChg chg="mod">
          <ac:chgData name="saverio romeo" userId="6ff4ea38a6e2050e" providerId="LiveId" clId="{052D8AC5-C3A3-4A2B-B7EE-BE3DDD5DE9A1}" dt="2020-05-24T19:32:37.929" v="9961" actId="1076"/>
          <ac:spMkLst>
            <pc:docMk/>
            <pc:sldMk cId="1105782657" sldId="326"/>
            <ac:spMk id="9" creationId="{2EA95C1A-E67C-4015-9C50-04CF55B80FD1}"/>
          </ac:spMkLst>
        </pc:spChg>
        <pc:spChg chg="mod">
          <ac:chgData name="saverio romeo" userId="6ff4ea38a6e2050e" providerId="LiveId" clId="{052D8AC5-C3A3-4A2B-B7EE-BE3DDD5DE9A1}" dt="2020-05-24T19:33:00.035" v="9967" actId="1076"/>
          <ac:spMkLst>
            <pc:docMk/>
            <pc:sldMk cId="1105782657" sldId="326"/>
            <ac:spMk id="10" creationId="{9C86C384-15F6-479B-8EB6-2A33861D70C1}"/>
          </ac:spMkLst>
        </pc:spChg>
        <pc:spChg chg="add mod">
          <ac:chgData name="saverio romeo" userId="6ff4ea38a6e2050e" providerId="LiveId" clId="{052D8AC5-C3A3-4A2B-B7EE-BE3DDD5DE9A1}" dt="2020-05-24T21:31:10.362" v="10889" actId="20577"/>
          <ac:spMkLst>
            <pc:docMk/>
            <pc:sldMk cId="1105782657" sldId="326"/>
            <ac:spMk id="11" creationId="{B3E43CB1-6886-4480-9340-286A1CC96EA3}"/>
          </ac:spMkLst>
        </pc:spChg>
        <pc:spChg chg="add del mod">
          <ac:chgData name="saverio romeo" userId="6ff4ea38a6e2050e" providerId="LiveId" clId="{052D8AC5-C3A3-4A2B-B7EE-BE3DDD5DE9A1}" dt="2020-05-24T19:35:43.012" v="10148" actId="478"/>
          <ac:spMkLst>
            <pc:docMk/>
            <pc:sldMk cId="1105782657" sldId="326"/>
            <ac:spMk id="12" creationId="{106743B0-B1EF-4AB1-A3E3-3974EF0BEFC6}"/>
          </ac:spMkLst>
        </pc:spChg>
        <pc:spChg chg="add mod">
          <ac:chgData name="saverio romeo" userId="6ff4ea38a6e2050e" providerId="LiveId" clId="{052D8AC5-C3A3-4A2B-B7EE-BE3DDD5DE9A1}" dt="2020-05-24T19:36:04.765" v="10151" actId="1076"/>
          <ac:spMkLst>
            <pc:docMk/>
            <pc:sldMk cId="1105782657" sldId="326"/>
            <ac:spMk id="13" creationId="{F2FF9526-9FE8-4656-8F8C-264C0DB4A08F}"/>
          </ac:spMkLst>
        </pc:spChg>
        <pc:spChg chg="add del">
          <ac:chgData name="saverio romeo" userId="6ff4ea38a6e2050e" providerId="LiveId" clId="{052D8AC5-C3A3-4A2B-B7EE-BE3DDD5DE9A1}" dt="2020-05-24T19:36:28.425" v="10153" actId="478"/>
          <ac:spMkLst>
            <pc:docMk/>
            <pc:sldMk cId="1105782657" sldId="326"/>
            <ac:spMk id="14" creationId="{FAABB250-AEA3-488D-9A9D-E83BA9BF5791}"/>
          </ac:spMkLst>
        </pc:spChg>
        <pc:spChg chg="add del mod">
          <ac:chgData name="saverio romeo" userId="6ff4ea38a6e2050e" providerId="LiveId" clId="{052D8AC5-C3A3-4A2B-B7EE-BE3DDD5DE9A1}" dt="2020-05-24T19:36:47.431" v="10156" actId="478"/>
          <ac:spMkLst>
            <pc:docMk/>
            <pc:sldMk cId="1105782657" sldId="326"/>
            <ac:spMk id="15" creationId="{D2F3F726-79BF-4681-8DCF-B2134FC26B58}"/>
          </ac:spMkLst>
        </pc:spChg>
        <pc:spChg chg="add mod">
          <ac:chgData name="saverio romeo" userId="6ff4ea38a6e2050e" providerId="LiveId" clId="{052D8AC5-C3A3-4A2B-B7EE-BE3DDD5DE9A1}" dt="2020-05-24T19:37:14.715" v="10161" actId="1076"/>
          <ac:spMkLst>
            <pc:docMk/>
            <pc:sldMk cId="1105782657" sldId="326"/>
            <ac:spMk id="16" creationId="{155E830A-DFF6-4345-804B-3FB3758DDA57}"/>
          </ac:spMkLst>
        </pc:spChg>
      </pc:sldChg>
      <pc:sldChg chg="addSp delSp modSp new mod">
        <pc:chgData name="saverio romeo" userId="6ff4ea38a6e2050e" providerId="LiveId" clId="{052D8AC5-C3A3-4A2B-B7EE-BE3DDD5DE9A1}" dt="2020-05-24T21:07:23.037" v="10760"/>
        <pc:sldMkLst>
          <pc:docMk/>
          <pc:sldMk cId="1463724201" sldId="327"/>
        </pc:sldMkLst>
        <pc:spChg chg="mod">
          <ac:chgData name="saverio romeo" userId="6ff4ea38a6e2050e" providerId="LiveId" clId="{052D8AC5-C3A3-4A2B-B7EE-BE3DDD5DE9A1}" dt="2020-05-24T21:07:15.252" v="10759" actId="20577"/>
          <ac:spMkLst>
            <pc:docMk/>
            <pc:sldMk cId="1463724201" sldId="327"/>
            <ac:spMk id="2" creationId="{B945E4DB-83F7-42D3-95FB-857163A79412}"/>
          </ac:spMkLst>
        </pc:spChg>
        <pc:spChg chg="del">
          <ac:chgData name="saverio romeo" userId="6ff4ea38a6e2050e" providerId="LiveId" clId="{052D8AC5-C3A3-4A2B-B7EE-BE3DDD5DE9A1}" dt="2020-05-24T21:03:39.069" v="10621"/>
          <ac:spMkLst>
            <pc:docMk/>
            <pc:sldMk cId="1463724201" sldId="327"/>
            <ac:spMk id="3" creationId="{D9643875-A26B-4D1D-93FA-B70B4C239B3B}"/>
          </ac:spMkLst>
        </pc:spChg>
        <pc:spChg chg="add del mod">
          <ac:chgData name="saverio romeo" userId="6ff4ea38a6e2050e" providerId="LiveId" clId="{052D8AC5-C3A3-4A2B-B7EE-BE3DDD5DE9A1}" dt="2020-05-24T21:04:47.250" v="10625"/>
          <ac:spMkLst>
            <pc:docMk/>
            <pc:sldMk cId="1463724201" sldId="327"/>
            <ac:spMk id="7" creationId="{324E17F1-E2C6-442B-949E-7C81CBA68260}"/>
          </ac:spMkLst>
        </pc:spChg>
        <pc:spChg chg="add del mod">
          <ac:chgData name="saverio romeo" userId="6ff4ea38a6e2050e" providerId="LiveId" clId="{052D8AC5-C3A3-4A2B-B7EE-BE3DDD5DE9A1}" dt="2020-05-24T21:05:42.242" v="10630"/>
          <ac:spMkLst>
            <pc:docMk/>
            <pc:sldMk cId="1463724201" sldId="327"/>
            <ac:spMk id="11" creationId="{240C113C-ED4C-4D54-9B0D-2B2C6336C6E6}"/>
          </ac:spMkLst>
        </pc:spChg>
        <pc:spChg chg="add mod">
          <ac:chgData name="saverio romeo" userId="6ff4ea38a6e2050e" providerId="LiveId" clId="{052D8AC5-C3A3-4A2B-B7EE-BE3DDD5DE9A1}" dt="2020-05-24T21:06:07.946" v="10667" actId="1076"/>
          <ac:spMkLst>
            <pc:docMk/>
            <pc:sldMk cId="1463724201" sldId="327"/>
            <ac:spMk id="14" creationId="{1C3C78B0-E825-4962-9757-6E20990E9D8A}"/>
          </ac:spMkLst>
        </pc:spChg>
        <pc:spChg chg="add mod">
          <ac:chgData name="saverio romeo" userId="6ff4ea38a6e2050e" providerId="LiveId" clId="{052D8AC5-C3A3-4A2B-B7EE-BE3DDD5DE9A1}" dt="2020-05-24T21:07:23.037" v="10760"/>
          <ac:spMkLst>
            <pc:docMk/>
            <pc:sldMk cId="1463724201" sldId="327"/>
            <ac:spMk id="15" creationId="{F71AA798-C0D7-4B65-83AF-D7F23B29A96D}"/>
          </ac:spMkLst>
        </pc:spChg>
        <pc:picChg chg="add del mod">
          <ac:chgData name="saverio romeo" userId="6ff4ea38a6e2050e" providerId="LiveId" clId="{052D8AC5-C3A3-4A2B-B7EE-BE3DDD5DE9A1}" dt="2020-05-24T21:03:41.591" v="10624" actId="478"/>
          <ac:picMkLst>
            <pc:docMk/>
            <pc:sldMk cId="1463724201" sldId="327"/>
            <ac:picMk id="5" creationId="{FD1E4AE6-2425-4EF6-972E-B8496B27F564}"/>
          </ac:picMkLst>
        </pc:picChg>
        <pc:picChg chg="add del mod">
          <ac:chgData name="saverio romeo" userId="6ff4ea38a6e2050e" providerId="LiveId" clId="{052D8AC5-C3A3-4A2B-B7EE-BE3DDD5DE9A1}" dt="2020-05-24T21:05:00.195" v="10629" actId="478"/>
          <ac:picMkLst>
            <pc:docMk/>
            <pc:sldMk cId="1463724201" sldId="327"/>
            <ac:picMk id="9" creationId="{D79FE5BB-4FC2-45C0-BF36-B2BBB66A37B5}"/>
          </ac:picMkLst>
        </pc:picChg>
        <pc:picChg chg="add mod">
          <ac:chgData name="saverio romeo" userId="6ff4ea38a6e2050e" providerId="LiveId" clId="{052D8AC5-C3A3-4A2B-B7EE-BE3DDD5DE9A1}" dt="2020-05-24T21:05:49.686" v="10634" actId="14100"/>
          <ac:picMkLst>
            <pc:docMk/>
            <pc:sldMk cId="1463724201" sldId="327"/>
            <ac:picMk id="13" creationId="{C544A015-E6EE-4852-BFBE-B5E96B489DF8}"/>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EB52F-AA64-40C6-8CF3-FBFC935F36C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AE0DF7E8-6075-4523-836E-102ABEE19366}">
      <dgm:prSet phldrT="[Text]"/>
      <dgm:spPr/>
      <dgm:t>
        <a:bodyPr/>
        <a:lstStyle/>
        <a:p>
          <a:r>
            <a:rPr lang="en-GB" dirty="0"/>
            <a:t>Identify</a:t>
          </a:r>
        </a:p>
      </dgm:t>
    </dgm:pt>
    <dgm:pt modelId="{2857199B-3F67-4D74-9FC7-7BF5D200F334}" type="parTrans" cxnId="{F87151AC-1F96-4DAC-8FDE-6A99DEDDB861}">
      <dgm:prSet/>
      <dgm:spPr/>
      <dgm:t>
        <a:bodyPr/>
        <a:lstStyle/>
        <a:p>
          <a:endParaRPr lang="en-GB"/>
        </a:p>
      </dgm:t>
    </dgm:pt>
    <dgm:pt modelId="{5AD8BFBD-BB3E-4D42-90E2-D6ACEE213646}" type="sibTrans" cxnId="{F87151AC-1F96-4DAC-8FDE-6A99DEDDB861}">
      <dgm:prSet/>
      <dgm:spPr/>
      <dgm:t>
        <a:bodyPr/>
        <a:lstStyle/>
        <a:p>
          <a:endParaRPr lang="en-GB"/>
        </a:p>
      </dgm:t>
    </dgm:pt>
    <dgm:pt modelId="{3D5EFD7C-65D1-47D0-BE72-3B25F07BEA06}">
      <dgm:prSet phldrT="[Text]"/>
      <dgm:spPr/>
      <dgm:t>
        <a:bodyPr/>
        <a:lstStyle/>
        <a:p>
          <a:r>
            <a:rPr lang="en-GB" dirty="0"/>
            <a:t>Active surveillance and identifying the infected</a:t>
          </a:r>
        </a:p>
      </dgm:t>
    </dgm:pt>
    <dgm:pt modelId="{F94AA5C8-1757-4849-AD99-0CF913DBF90C}" type="parTrans" cxnId="{54C85B1A-D8C8-41B1-8978-CEDCCE8FAD46}">
      <dgm:prSet/>
      <dgm:spPr/>
      <dgm:t>
        <a:bodyPr/>
        <a:lstStyle/>
        <a:p>
          <a:endParaRPr lang="en-GB"/>
        </a:p>
      </dgm:t>
    </dgm:pt>
    <dgm:pt modelId="{1A33E672-0378-4F25-A739-34F00DAF988D}" type="sibTrans" cxnId="{54C85B1A-D8C8-41B1-8978-CEDCCE8FAD46}">
      <dgm:prSet/>
      <dgm:spPr/>
      <dgm:t>
        <a:bodyPr/>
        <a:lstStyle/>
        <a:p>
          <a:endParaRPr lang="en-GB"/>
        </a:p>
      </dgm:t>
    </dgm:pt>
    <dgm:pt modelId="{B02DF5CA-3CB9-4918-BAC9-B0E7357FCE82}">
      <dgm:prSet phldrT="[Text]"/>
      <dgm:spPr/>
      <dgm:t>
        <a:bodyPr/>
        <a:lstStyle/>
        <a:p>
          <a:r>
            <a:rPr lang="en-GB" dirty="0"/>
            <a:t>Isolate</a:t>
          </a:r>
        </a:p>
      </dgm:t>
    </dgm:pt>
    <dgm:pt modelId="{7E469B69-6A7C-4009-8F1B-6311ED2FBEBF}" type="parTrans" cxnId="{A1821277-20B6-41AF-9839-421AA42BD4F0}">
      <dgm:prSet/>
      <dgm:spPr/>
      <dgm:t>
        <a:bodyPr/>
        <a:lstStyle/>
        <a:p>
          <a:endParaRPr lang="en-GB"/>
        </a:p>
      </dgm:t>
    </dgm:pt>
    <dgm:pt modelId="{DBF9BCCC-237C-48D1-AA5A-121A3843FDA9}" type="sibTrans" cxnId="{A1821277-20B6-41AF-9839-421AA42BD4F0}">
      <dgm:prSet/>
      <dgm:spPr/>
      <dgm:t>
        <a:bodyPr/>
        <a:lstStyle/>
        <a:p>
          <a:endParaRPr lang="en-GB"/>
        </a:p>
      </dgm:t>
    </dgm:pt>
    <dgm:pt modelId="{2F5AE5AA-3E11-4FD8-90E7-78109CDD7C8F}">
      <dgm:prSet phldrT="[Text]"/>
      <dgm:spPr/>
      <dgm:t>
        <a:bodyPr/>
        <a:lstStyle/>
        <a:p>
          <a:r>
            <a:rPr lang="en-GB" dirty="0"/>
            <a:t>Isolate the infected from others</a:t>
          </a:r>
        </a:p>
      </dgm:t>
    </dgm:pt>
    <dgm:pt modelId="{BF4E2C89-59AB-48D6-BDC0-789A534C151C}" type="parTrans" cxnId="{04A08FE7-A2FD-41AD-AA83-504FE6045759}">
      <dgm:prSet/>
      <dgm:spPr/>
      <dgm:t>
        <a:bodyPr/>
        <a:lstStyle/>
        <a:p>
          <a:endParaRPr lang="en-GB"/>
        </a:p>
      </dgm:t>
    </dgm:pt>
    <dgm:pt modelId="{36CA03F2-1514-4D13-B25F-7014EEA1E62B}" type="sibTrans" cxnId="{04A08FE7-A2FD-41AD-AA83-504FE6045759}">
      <dgm:prSet/>
      <dgm:spPr/>
      <dgm:t>
        <a:bodyPr/>
        <a:lstStyle/>
        <a:p>
          <a:endParaRPr lang="en-GB"/>
        </a:p>
      </dgm:t>
    </dgm:pt>
    <dgm:pt modelId="{F83EBDED-2E56-41B9-9F22-322F673D674D}">
      <dgm:prSet phldrT="[Text]"/>
      <dgm:spPr/>
      <dgm:t>
        <a:bodyPr/>
        <a:lstStyle/>
        <a:p>
          <a:r>
            <a:rPr lang="en-GB" dirty="0"/>
            <a:t>Quarantine</a:t>
          </a:r>
        </a:p>
      </dgm:t>
    </dgm:pt>
    <dgm:pt modelId="{D87546EA-76CA-4CD9-BFDB-7AE0B1EEA375}" type="parTrans" cxnId="{AFAABB4A-D541-4C6A-B5E8-1E8EAE6E1D12}">
      <dgm:prSet/>
      <dgm:spPr/>
      <dgm:t>
        <a:bodyPr/>
        <a:lstStyle/>
        <a:p>
          <a:endParaRPr lang="en-GB"/>
        </a:p>
      </dgm:t>
    </dgm:pt>
    <dgm:pt modelId="{B3106F35-4E1E-4155-9098-8F20DAE781BD}" type="sibTrans" cxnId="{AFAABB4A-D541-4C6A-B5E8-1E8EAE6E1D12}">
      <dgm:prSet/>
      <dgm:spPr/>
      <dgm:t>
        <a:bodyPr/>
        <a:lstStyle/>
        <a:p>
          <a:endParaRPr lang="en-GB"/>
        </a:p>
      </dgm:t>
    </dgm:pt>
    <dgm:pt modelId="{9426AFAD-C0A7-47A2-AC27-B80562DB16EE}">
      <dgm:prSet phldrT="[Text]"/>
      <dgm:spPr/>
      <dgm:t>
        <a:bodyPr/>
        <a:lstStyle/>
        <a:p>
          <a:r>
            <a:rPr lang="en-GB" dirty="0"/>
            <a:t>Partial and complete lockdown</a:t>
          </a:r>
        </a:p>
      </dgm:t>
    </dgm:pt>
    <dgm:pt modelId="{9C5D0597-112C-4750-9E9C-8CC649EA85A9}" type="parTrans" cxnId="{C064E2BA-E9BD-41FD-B459-681F3719F338}">
      <dgm:prSet/>
      <dgm:spPr/>
      <dgm:t>
        <a:bodyPr/>
        <a:lstStyle/>
        <a:p>
          <a:endParaRPr lang="en-GB"/>
        </a:p>
      </dgm:t>
    </dgm:pt>
    <dgm:pt modelId="{DBB774E3-9764-491B-9D0F-D307B02DA103}" type="sibTrans" cxnId="{C064E2BA-E9BD-41FD-B459-681F3719F338}">
      <dgm:prSet/>
      <dgm:spPr/>
      <dgm:t>
        <a:bodyPr/>
        <a:lstStyle/>
        <a:p>
          <a:endParaRPr lang="en-GB"/>
        </a:p>
      </dgm:t>
    </dgm:pt>
    <dgm:pt modelId="{2A135FC8-A18B-4172-9C8B-4CE7ED15646B}" type="pres">
      <dgm:prSet presAssocID="{10AEB52F-AA64-40C6-8CF3-FBFC935F36CD}" presName="linearFlow" presStyleCnt="0">
        <dgm:presLayoutVars>
          <dgm:dir/>
          <dgm:animLvl val="lvl"/>
          <dgm:resizeHandles val="exact"/>
        </dgm:presLayoutVars>
      </dgm:prSet>
      <dgm:spPr/>
    </dgm:pt>
    <dgm:pt modelId="{66A4A4C7-C699-44ED-96E5-4D3E10980895}" type="pres">
      <dgm:prSet presAssocID="{AE0DF7E8-6075-4523-836E-102ABEE19366}" presName="composite" presStyleCnt="0"/>
      <dgm:spPr/>
    </dgm:pt>
    <dgm:pt modelId="{DA030BDF-FCC3-4E6A-B8F0-C24C6DC0402A}" type="pres">
      <dgm:prSet presAssocID="{AE0DF7E8-6075-4523-836E-102ABEE19366}" presName="parTx" presStyleLbl="node1" presStyleIdx="0" presStyleCnt="3">
        <dgm:presLayoutVars>
          <dgm:chMax val="0"/>
          <dgm:chPref val="0"/>
          <dgm:bulletEnabled val="1"/>
        </dgm:presLayoutVars>
      </dgm:prSet>
      <dgm:spPr/>
    </dgm:pt>
    <dgm:pt modelId="{A33157B2-A005-442A-82C4-D7BB9F4B9FAA}" type="pres">
      <dgm:prSet presAssocID="{AE0DF7E8-6075-4523-836E-102ABEE19366}" presName="parSh" presStyleLbl="node1" presStyleIdx="0" presStyleCnt="3"/>
      <dgm:spPr/>
    </dgm:pt>
    <dgm:pt modelId="{3E04414B-E546-445C-9302-4DFD44F51DCB}" type="pres">
      <dgm:prSet presAssocID="{AE0DF7E8-6075-4523-836E-102ABEE19366}" presName="desTx" presStyleLbl="fgAcc1" presStyleIdx="0" presStyleCnt="3">
        <dgm:presLayoutVars>
          <dgm:bulletEnabled val="1"/>
        </dgm:presLayoutVars>
      </dgm:prSet>
      <dgm:spPr/>
    </dgm:pt>
    <dgm:pt modelId="{7B364501-6B61-4124-8975-C49BAD11259C}" type="pres">
      <dgm:prSet presAssocID="{5AD8BFBD-BB3E-4D42-90E2-D6ACEE213646}" presName="sibTrans" presStyleLbl="sibTrans2D1" presStyleIdx="0" presStyleCnt="2"/>
      <dgm:spPr/>
    </dgm:pt>
    <dgm:pt modelId="{AEB89B64-36F5-4C1A-96E4-44710E112F6A}" type="pres">
      <dgm:prSet presAssocID="{5AD8BFBD-BB3E-4D42-90E2-D6ACEE213646}" presName="connTx" presStyleLbl="sibTrans2D1" presStyleIdx="0" presStyleCnt="2"/>
      <dgm:spPr/>
    </dgm:pt>
    <dgm:pt modelId="{FC1ADEBD-72CC-49C5-8234-1313FE5E7D86}" type="pres">
      <dgm:prSet presAssocID="{B02DF5CA-3CB9-4918-BAC9-B0E7357FCE82}" presName="composite" presStyleCnt="0"/>
      <dgm:spPr/>
    </dgm:pt>
    <dgm:pt modelId="{BDF7F702-5D89-496C-8422-11E1E94EA2B3}" type="pres">
      <dgm:prSet presAssocID="{B02DF5CA-3CB9-4918-BAC9-B0E7357FCE82}" presName="parTx" presStyleLbl="node1" presStyleIdx="0" presStyleCnt="3">
        <dgm:presLayoutVars>
          <dgm:chMax val="0"/>
          <dgm:chPref val="0"/>
          <dgm:bulletEnabled val="1"/>
        </dgm:presLayoutVars>
      </dgm:prSet>
      <dgm:spPr/>
    </dgm:pt>
    <dgm:pt modelId="{131E5D29-3150-4400-BE31-42025CD714E1}" type="pres">
      <dgm:prSet presAssocID="{B02DF5CA-3CB9-4918-BAC9-B0E7357FCE82}" presName="parSh" presStyleLbl="node1" presStyleIdx="1" presStyleCnt="3"/>
      <dgm:spPr/>
    </dgm:pt>
    <dgm:pt modelId="{A13F5EF9-557F-4CE9-A102-D2AED3BE89C5}" type="pres">
      <dgm:prSet presAssocID="{B02DF5CA-3CB9-4918-BAC9-B0E7357FCE82}" presName="desTx" presStyleLbl="fgAcc1" presStyleIdx="1" presStyleCnt="3">
        <dgm:presLayoutVars>
          <dgm:bulletEnabled val="1"/>
        </dgm:presLayoutVars>
      </dgm:prSet>
      <dgm:spPr/>
    </dgm:pt>
    <dgm:pt modelId="{E30B66FF-D6F2-4483-A57A-DD632D83C458}" type="pres">
      <dgm:prSet presAssocID="{DBF9BCCC-237C-48D1-AA5A-121A3843FDA9}" presName="sibTrans" presStyleLbl="sibTrans2D1" presStyleIdx="1" presStyleCnt="2"/>
      <dgm:spPr/>
    </dgm:pt>
    <dgm:pt modelId="{BCDFB37E-E93F-4C1E-9465-A61D01B6B770}" type="pres">
      <dgm:prSet presAssocID="{DBF9BCCC-237C-48D1-AA5A-121A3843FDA9}" presName="connTx" presStyleLbl="sibTrans2D1" presStyleIdx="1" presStyleCnt="2"/>
      <dgm:spPr/>
    </dgm:pt>
    <dgm:pt modelId="{C873BA60-6C06-4D8A-B1E2-C5A97A0C2135}" type="pres">
      <dgm:prSet presAssocID="{F83EBDED-2E56-41B9-9F22-322F673D674D}" presName="composite" presStyleCnt="0"/>
      <dgm:spPr/>
    </dgm:pt>
    <dgm:pt modelId="{3B431D58-E0E6-4FBC-A6E2-4324E6DF2D17}" type="pres">
      <dgm:prSet presAssocID="{F83EBDED-2E56-41B9-9F22-322F673D674D}" presName="parTx" presStyleLbl="node1" presStyleIdx="1" presStyleCnt="3">
        <dgm:presLayoutVars>
          <dgm:chMax val="0"/>
          <dgm:chPref val="0"/>
          <dgm:bulletEnabled val="1"/>
        </dgm:presLayoutVars>
      </dgm:prSet>
      <dgm:spPr/>
    </dgm:pt>
    <dgm:pt modelId="{0EDEBD6F-B588-4812-A6F5-26EF688F447F}" type="pres">
      <dgm:prSet presAssocID="{F83EBDED-2E56-41B9-9F22-322F673D674D}" presName="parSh" presStyleLbl="node1" presStyleIdx="2" presStyleCnt="3"/>
      <dgm:spPr/>
    </dgm:pt>
    <dgm:pt modelId="{24BEF3FC-F2E7-4209-9385-5B99C50BD6AF}" type="pres">
      <dgm:prSet presAssocID="{F83EBDED-2E56-41B9-9F22-322F673D674D}" presName="desTx" presStyleLbl="fgAcc1" presStyleIdx="2" presStyleCnt="3">
        <dgm:presLayoutVars>
          <dgm:bulletEnabled val="1"/>
        </dgm:presLayoutVars>
      </dgm:prSet>
      <dgm:spPr/>
    </dgm:pt>
  </dgm:ptLst>
  <dgm:cxnLst>
    <dgm:cxn modelId="{1C7A9A12-27C0-407D-8DF5-E8B3705E729A}" type="presOf" srcId="{5AD8BFBD-BB3E-4D42-90E2-D6ACEE213646}" destId="{7B364501-6B61-4124-8975-C49BAD11259C}" srcOrd="0" destOrd="0" presId="urn:microsoft.com/office/officeart/2005/8/layout/process3"/>
    <dgm:cxn modelId="{54C85B1A-D8C8-41B1-8978-CEDCCE8FAD46}" srcId="{AE0DF7E8-6075-4523-836E-102ABEE19366}" destId="{3D5EFD7C-65D1-47D0-BE72-3B25F07BEA06}" srcOrd="0" destOrd="0" parTransId="{F94AA5C8-1757-4849-AD99-0CF913DBF90C}" sibTransId="{1A33E672-0378-4F25-A739-34F00DAF988D}"/>
    <dgm:cxn modelId="{02ABD31C-D757-4437-821F-CD719842A523}" type="presOf" srcId="{9426AFAD-C0A7-47A2-AC27-B80562DB16EE}" destId="{24BEF3FC-F2E7-4209-9385-5B99C50BD6AF}" srcOrd="0" destOrd="0" presId="urn:microsoft.com/office/officeart/2005/8/layout/process3"/>
    <dgm:cxn modelId="{CE7A3960-DD38-4B71-9FDE-8D34D639A305}" type="presOf" srcId="{DBF9BCCC-237C-48D1-AA5A-121A3843FDA9}" destId="{E30B66FF-D6F2-4483-A57A-DD632D83C458}" srcOrd="0" destOrd="0" presId="urn:microsoft.com/office/officeart/2005/8/layout/process3"/>
    <dgm:cxn modelId="{DC8AED47-1FAA-4074-A034-9D41E09B336D}" type="presOf" srcId="{F83EBDED-2E56-41B9-9F22-322F673D674D}" destId="{0EDEBD6F-B588-4812-A6F5-26EF688F447F}" srcOrd="1" destOrd="0" presId="urn:microsoft.com/office/officeart/2005/8/layout/process3"/>
    <dgm:cxn modelId="{AFAABB4A-D541-4C6A-B5E8-1E8EAE6E1D12}" srcId="{10AEB52F-AA64-40C6-8CF3-FBFC935F36CD}" destId="{F83EBDED-2E56-41B9-9F22-322F673D674D}" srcOrd="2" destOrd="0" parTransId="{D87546EA-76CA-4CD9-BFDB-7AE0B1EEA375}" sibTransId="{B3106F35-4E1E-4155-9098-8F20DAE781BD}"/>
    <dgm:cxn modelId="{A1821277-20B6-41AF-9839-421AA42BD4F0}" srcId="{10AEB52F-AA64-40C6-8CF3-FBFC935F36CD}" destId="{B02DF5CA-3CB9-4918-BAC9-B0E7357FCE82}" srcOrd="1" destOrd="0" parTransId="{7E469B69-6A7C-4009-8F1B-6311ED2FBEBF}" sibTransId="{DBF9BCCC-237C-48D1-AA5A-121A3843FDA9}"/>
    <dgm:cxn modelId="{5F005286-7DC5-46B1-B4AB-4DD26E75F9D8}" type="presOf" srcId="{2F5AE5AA-3E11-4FD8-90E7-78109CDD7C8F}" destId="{A13F5EF9-557F-4CE9-A102-D2AED3BE89C5}" srcOrd="0" destOrd="0" presId="urn:microsoft.com/office/officeart/2005/8/layout/process3"/>
    <dgm:cxn modelId="{6FC2B0A2-32B2-414E-AA78-EE76EC93E706}" type="presOf" srcId="{5AD8BFBD-BB3E-4D42-90E2-D6ACEE213646}" destId="{AEB89B64-36F5-4C1A-96E4-44710E112F6A}" srcOrd="1" destOrd="0" presId="urn:microsoft.com/office/officeart/2005/8/layout/process3"/>
    <dgm:cxn modelId="{11B0C5AA-708D-4F24-9F9D-16FF0D308291}" type="presOf" srcId="{AE0DF7E8-6075-4523-836E-102ABEE19366}" destId="{DA030BDF-FCC3-4E6A-B8F0-C24C6DC0402A}" srcOrd="0" destOrd="0" presId="urn:microsoft.com/office/officeart/2005/8/layout/process3"/>
    <dgm:cxn modelId="{F87151AC-1F96-4DAC-8FDE-6A99DEDDB861}" srcId="{10AEB52F-AA64-40C6-8CF3-FBFC935F36CD}" destId="{AE0DF7E8-6075-4523-836E-102ABEE19366}" srcOrd="0" destOrd="0" parTransId="{2857199B-3F67-4D74-9FC7-7BF5D200F334}" sibTransId="{5AD8BFBD-BB3E-4D42-90E2-D6ACEE213646}"/>
    <dgm:cxn modelId="{8023BEB1-F2AC-498A-B487-03DCDB60A2AC}" type="presOf" srcId="{B02DF5CA-3CB9-4918-BAC9-B0E7357FCE82}" destId="{131E5D29-3150-4400-BE31-42025CD714E1}" srcOrd="1" destOrd="0" presId="urn:microsoft.com/office/officeart/2005/8/layout/process3"/>
    <dgm:cxn modelId="{133A24B8-C366-4006-A539-526097CC8D00}" type="presOf" srcId="{F83EBDED-2E56-41B9-9F22-322F673D674D}" destId="{3B431D58-E0E6-4FBC-A6E2-4324E6DF2D17}" srcOrd="0" destOrd="0" presId="urn:microsoft.com/office/officeart/2005/8/layout/process3"/>
    <dgm:cxn modelId="{C064E2BA-E9BD-41FD-B459-681F3719F338}" srcId="{F83EBDED-2E56-41B9-9F22-322F673D674D}" destId="{9426AFAD-C0A7-47A2-AC27-B80562DB16EE}" srcOrd="0" destOrd="0" parTransId="{9C5D0597-112C-4750-9E9C-8CC649EA85A9}" sibTransId="{DBB774E3-9764-491B-9D0F-D307B02DA103}"/>
    <dgm:cxn modelId="{553E77C2-4117-4FB1-967D-E430F31E420E}" type="presOf" srcId="{10AEB52F-AA64-40C6-8CF3-FBFC935F36CD}" destId="{2A135FC8-A18B-4172-9C8B-4CE7ED15646B}" srcOrd="0" destOrd="0" presId="urn:microsoft.com/office/officeart/2005/8/layout/process3"/>
    <dgm:cxn modelId="{C2428CE4-E879-479B-BACD-5C1A5B9B1C30}" type="presOf" srcId="{3D5EFD7C-65D1-47D0-BE72-3B25F07BEA06}" destId="{3E04414B-E546-445C-9302-4DFD44F51DCB}" srcOrd="0" destOrd="0" presId="urn:microsoft.com/office/officeart/2005/8/layout/process3"/>
    <dgm:cxn modelId="{66EFB8E5-45D6-4C38-93CC-49FF6AC50D22}" type="presOf" srcId="{AE0DF7E8-6075-4523-836E-102ABEE19366}" destId="{A33157B2-A005-442A-82C4-D7BB9F4B9FAA}" srcOrd="1" destOrd="0" presId="urn:microsoft.com/office/officeart/2005/8/layout/process3"/>
    <dgm:cxn modelId="{F9C252E7-430E-49A9-BF01-26EB4360354D}" type="presOf" srcId="{B02DF5CA-3CB9-4918-BAC9-B0E7357FCE82}" destId="{BDF7F702-5D89-496C-8422-11E1E94EA2B3}" srcOrd="0" destOrd="0" presId="urn:microsoft.com/office/officeart/2005/8/layout/process3"/>
    <dgm:cxn modelId="{04A08FE7-A2FD-41AD-AA83-504FE6045759}" srcId="{B02DF5CA-3CB9-4918-BAC9-B0E7357FCE82}" destId="{2F5AE5AA-3E11-4FD8-90E7-78109CDD7C8F}" srcOrd="0" destOrd="0" parTransId="{BF4E2C89-59AB-48D6-BDC0-789A534C151C}" sibTransId="{36CA03F2-1514-4D13-B25F-7014EEA1E62B}"/>
    <dgm:cxn modelId="{5716A3FE-9DBA-4554-94CB-D7295F53D1D6}" type="presOf" srcId="{DBF9BCCC-237C-48D1-AA5A-121A3843FDA9}" destId="{BCDFB37E-E93F-4C1E-9465-A61D01B6B770}" srcOrd="1" destOrd="0" presId="urn:microsoft.com/office/officeart/2005/8/layout/process3"/>
    <dgm:cxn modelId="{13A250D4-3BCD-4E8A-B7D9-7AC4BF6A2185}" type="presParOf" srcId="{2A135FC8-A18B-4172-9C8B-4CE7ED15646B}" destId="{66A4A4C7-C699-44ED-96E5-4D3E10980895}" srcOrd="0" destOrd="0" presId="urn:microsoft.com/office/officeart/2005/8/layout/process3"/>
    <dgm:cxn modelId="{28152212-83C4-49C0-8070-D8A92EA77826}" type="presParOf" srcId="{66A4A4C7-C699-44ED-96E5-4D3E10980895}" destId="{DA030BDF-FCC3-4E6A-B8F0-C24C6DC0402A}" srcOrd="0" destOrd="0" presId="urn:microsoft.com/office/officeart/2005/8/layout/process3"/>
    <dgm:cxn modelId="{B50CCF47-F5C9-45BC-9B37-84677BF657BB}" type="presParOf" srcId="{66A4A4C7-C699-44ED-96E5-4D3E10980895}" destId="{A33157B2-A005-442A-82C4-D7BB9F4B9FAA}" srcOrd="1" destOrd="0" presId="urn:microsoft.com/office/officeart/2005/8/layout/process3"/>
    <dgm:cxn modelId="{0CEFC3EA-473F-4158-B20F-74622735645A}" type="presParOf" srcId="{66A4A4C7-C699-44ED-96E5-4D3E10980895}" destId="{3E04414B-E546-445C-9302-4DFD44F51DCB}" srcOrd="2" destOrd="0" presId="urn:microsoft.com/office/officeart/2005/8/layout/process3"/>
    <dgm:cxn modelId="{A7F8D33D-2127-4AB7-84A5-BAF7DBF87807}" type="presParOf" srcId="{2A135FC8-A18B-4172-9C8B-4CE7ED15646B}" destId="{7B364501-6B61-4124-8975-C49BAD11259C}" srcOrd="1" destOrd="0" presId="urn:microsoft.com/office/officeart/2005/8/layout/process3"/>
    <dgm:cxn modelId="{BDACF801-969A-4CB5-BE90-5114A8EC5DD4}" type="presParOf" srcId="{7B364501-6B61-4124-8975-C49BAD11259C}" destId="{AEB89B64-36F5-4C1A-96E4-44710E112F6A}" srcOrd="0" destOrd="0" presId="urn:microsoft.com/office/officeart/2005/8/layout/process3"/>
    <dgm:cxn modelId="{677DC99F-C91B-4A3A-843F-79F20338B77D}" type="presParOf" srcId="{2A135FC8-A18B-4172-9C8B-4CE7ED15646B}" destId="{FC1ADEBD-72CC-49C5-8234-1313FE5E7D86}" srcOrd="2" destOrd="0" presId="urn:microsoft.com/office/officeart/2005/8/layout/process3"/>
    <dgm:cxn modelId="{7DAB2469-7924-4C57-8DFC-E8F1FF682E01}" type="presParOf" srcId="{FC1ADEBD-72CC-49C5-8234-1313FE5E7D86}" destId="{BDF7F702-5D89-496C-8422-11E1E94EA2B3}" srcOrd="0" destOrd="0" presId="urn:microsoft.com/office/officeart/2005/8/layout/process3"/>
    <dgm:cxn modelId="{3327278F-2648-40E5-BB80-E0C695CBF6E4}" type="presParOf" srcId="{FC1ADEBD-72CC-49C5-8234-1313FE5E7D86}" destId="{131E5D29-3150-4400-BE31-42025CD714E1}" srcOrd="1" destOrd="0" presId="urn:microsoft.com/office/officeart/2005/8/layout/process3"/>
    <dgm:cxn modelId="{F86832BB-E551-4F6E-B09B-C6A33A1E9FA2}" type="presParOf" srcId="{FC1ADEBD-72CC-49C5-8234-1313FE5E7D86}" destId="{A13F5EF9-557F-4CE9-A102-D2AED3BE89C5}" srcOrd="2" destOrd="0" presId="urn:microsoft.com/office/officeart/2005/8/layout/process3"/>
    <dgm:cxn modelId="{A979652A-6667-4D4E-BEFE-CCF1A66DA741}" type="presParOf" srcId="{2A135FC8-A18B-4172-9C8B-4CE7ED15646B}" destId="{E30B66FF-D6F2-4483-A57A-DD632D83C458}" srcOrd="3" destOrd="0" presId="urn:microsoft.com/office/officeart/2005/8/layout/process3"/>
    <dgm:cxn modelId="{27C1F4A0-F9BB-4B82-9327-F903D1BABACF}" type="presParOf" srcId="{E30B66FF-D6F2-4483-A57A-DD632D83C458}" destId="{BCDFB37E-E93F-4C1E-9465-A61D01B6B770}" srcOrd="0" destOrd="0" presId="urn:microsoft.com/office/officeart/2005/8/layout/process3"/>
    <dgm:cxn modelId="{276ADBFE-7A44-4953-B4EF-68BDFCCED8E0}" type="presParOf" srcId="{2A135FC8-A18B-4172-9C8B-4CE7ED15646B}" destId="{C873BA60-6C06-4D8A-B1E2-C5A97A0C2135}" srcOrd="4" destOrd="0" presId="urn:microsoft.com/office/officeart/2005/8/layout/process3"/>
    <dgm:cxn modelId="{8515AAD9-CA51-468C-8266-3570849B7B5A}" type="presParOf" srcId="{C873BA60-6C06-4D8A-B1E2-C5A97A0C2135}" destId="{3B431D58-E0E6-4FBC-A6E2-4324E6DF2D17}" srcOrd="0" destOrd="0" presId="urn:microsoft.com/office/officeart/2005/8/layout/process3"/>
    <dgm:cxn modelId="{4B701106-D139-4CC2-816F-8EC0B1E331FB}" type="presParOf" srcId="{C873BA60-6C06-4D8A-B1E2-C5A97A0C2135}" destId="{0EDEBD6F-B588-4812-A6F5-26EF688F447F}" srcOrd="1" destOrd="0" presId="urn:microsoft.com/office/officeart/2005/8/layout/process3"/>
    <dgm:cxn modelId="{0C0E2246-1EA0-425C-83BC-E5D40F18B270}" type="presParOf" srcId="{C873BA60-6C06-4D8A-B1E2-C5A97A0C2135}" destId="{24BEF3FC-F2E7-4209-9385-5B99C50BD6AF}"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EB52F-AA64-40C6-8CF3-FBFC935F36C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AE0DF7E8-6075-4523-836E-102ABEE19366}">
      <dgm:prSet phldrT="[Text]"/>
      <dgm:spPr/>
      <dgm:t>
        <a:bodyPr/>
        <a:lstStyle/>
        <a:p>
          <a:r>
            <a:rPr lang="en-GB" dirty="0"/>
            <a:t>Identify</a:t>
          </a:r>
        </a:p>
      </dgm:t>
    </dgm:pt>
    <dgm:pt modelId="{2857199B-3F67-4D74-9FC7-7BF5D200F334}" type="parTrans" cxnId="{F87151AC-1F96-4DAC-8FDE-6A99DEDDB861}">
      <dgm:prSet/>
      <dgm:spPr/>
      <dgm:t>
        <a:bodyPr/>
        <a:lstStyle/>
        <a:p>
          <a:endParaRPr lang="en-GB"/>
        </a:p>
      </dgm:t>
    </dgm:pt>
    <dgm:pt modelId="{5AD8BFBD-BB3E-4D42-90E2-D6ACEE213646}" type="sibTrans" cxnId="{F87151AC-1F96-4DAC-8FDE-6A99DEDDB861}">
      <dgm:prSet/>
      <dgm:spPr/>
      <dgm:t>
        <a:bodyPr/>
        <a:lstStyle/>
        <a:p>
          <a:endParaRPr lang="en-GB"/>
        </a:p>
      </dgm:t>
    </dgm:pt>
    <dgm:pt modelId="{3D5EFD7C-65D1-47D0-BE72-3B25F07BEA06}">
      <dgm:prSet phldrT="[Text]"/>
      <dgm:spPr/>
      <dgm:t>
        <a:bodyPr/>
        <a:lstStyle/>
        <a:p>
          <a:r>
            <a:rPr lang="en-GB" dirty="0"/>
            <a:t>Active surveillance and identifying the infected</a:t>
          </a:r>
        </a:p>
      </dgm:t>
    </dgm:pt>
    <dgm:pt modelId="{F94AA5C8-1757-4849-AD99-0CF913DBF90C}" type="parTrans" cxnId="{54C85B1A-D8C8-41B1-8978-CEDCCE8FAD46}">
      <dgm:prSet/>
      <dgm:spPr/>
      <dgm:t>
        <a:bodyPr/>
        <a:lstStyle/>
        <a:p>
          <a:endParaRPr lang="en-GB"/>
        </a:p>
      </dgm:t>
    </dgm:pt>
    <dgm:pt modelId="{1A33E672-0378-4F25-A739-34F00DAF988D}" type="sibTrans" cxnId="{54C85B1A-D8C8-41B1-8978-CEDCCE8FAD46}">
      <dgm:prSet/>
      <dgm:spPr/>
      <dgm:t>
        <a:bodyPr/>
        <a:lstStyle/>
        <a:p>
          <a:endParaRPr lang="en-GB"/>
        </a:p>
      </dgm:t>
    </dgm:pt>
    <dgm:pt modelId="{B02DF5CA-3CB9-4918-BAC9-B0E7357FCE82}">
      <dgm:prSet phldrT="[Text]"/>
      <dgm:spPr/>
      <dgm:t>
        <a:bodyPr/>
        <a:lstStyle/>
        <a:p>
          <a:r>
            <a:rPr lang="en-GB" dirty="0"/>
            <a:t>Isolate</a:t>
          </a:r>
        </a:p>
      </dgm:t>
    </dgm:pt>
    <dgm:pt modelId="{7E469B69-6A7C-4009-8F1B-6311ED2FBEBF}" type="parTrans" cxnId="{A1821277-20B6-41AF-9839-421AA42BD4F0}">
      <dgm:prSet/>
      <dgm:spPr/>
      <dgm:t>
        <a:bodyPr/>
        <a:lstStyle/>
        <a:p>
          <a:endParaRPr lang="en-GB"/>
        </a:p>
      </dgm:t>
    </dgm:pt>
    <dgm:pt modelId="{DBF9BCCC-237C-48D1-AA5A-121A3843FDA9}" type="sibTrans" cxnId="{A1821277-20B6-41AF-9839-421AA42BD4F0}">
      <dgm:prSet/>
      <dgm:spPr/>
      <dgm:t>
        <a:bodyPr/>
        <a:lstStyle/>
        <a:p>
          <a:endParaRPr lang="en-GB"/>
        </a:p>
      </dgm:t>
    </dgm:pt>
    <dgm:pt modelId="{2F5AE5AA-3E11-4FD8-90E7-78109CDD7C8F}">
      <dgm:prSet phldrT="[Text]"/>
      <dgm:spPr/>
      <dgm:t>
        <a:bodyPr/>
        <a:lstStyle/>
        <a:p>
          <a:r>
            <a:rPr lang="en-GB" dirty="0"/>
            <a:t>Isolate the infected from others</a:t>
          </a:r>
        </a:p>
      </dgm:t>
    </dgm:pt>
    <dgm:pt modelId="{BF4E2C89-59AB-48D6-BDC0-789A534C151C}" type="parTrans" cxnId="{04A08FE7-A2FD-41AD-AA83-504FE6045759}">
      <dgm:prSet/>
      <dgm:spPr/>
      <dgm:t>
        <a:bodyPr/>
        <a:lstStyle/>
        <a:p>
          <a:endParaRPr lang="en-GB"/>
        </a:p>
      </dgm:t>
    </dgm:pt>
    <dgm:pt modelId="{36CA03F2-1514-4D13-B25F-7014EEA1E62B}" type="sibTrans" cxnId="{04A08FE7-A2FD-41AD-AA83-504FE6045759}">
      <dgm:prSet/>
      <dgm:spPr/>
      <dgm:t>
        <a:bodyPr/>
        <a:lstStyle/>
        <a:p>
          <a:endParaRPr lang="en-GB"/>
        </a:p>
      </dgm:t>
    </dgm:pt>
    <dgm:pt modelId="{F83EBDED-2E56-41B9-9F22-322F673D674D}">
      <dgm:prSet phldrT="[Text]"/>
      <dgm:spPr/>
      <dgm:t>
        <a:bodyPr/>
        <a:lstStyle/>
        <a:p>
          <a:r>
            <a:rPr lang="en-GB" dirty="0"/>
            <a:t>Quarantine</a:t>
          </a:r>
        </a:p>
      </dgm:t>
    </dgm:pt>
    <dgm:pt modelId="{D87546EA-76CA-4CD9-BFDB-7AE0B1EEA375}" type="parTrans" cxnId="{AFAABB4A-D541-4C6A-B5E8-1E8EAE6E1D12}">
      <dgm:prSet/>
      <dgm:spPr/>
      <dgm:t>
        <a:bodyPr/>
        <a:lstStyle/>
        <a:p>
          <a:endParaRPr lang="en-GB"/>
        </a:p>
      </dgm:t>
    </dgm:pt>
    <dgm:pt modelId="{B3106F35-4E1E-4155-9098-8F20DAE781BD}" type="sibTrans" cxnId="{AFAABB4A-D541-4C6A-B5E8-1E8EAE6E1D12}">
      <dgm:prSet/>
      <dgm:spPr/>
      <dgm:t>
        <a:bodyPr/>
        <a:lstStyle/>
        <a:p>
          <a:endParaRPr lang="en-GB"/>
        </a:p>
      </dgm:t>
    </dgm:pt>
    <dgm:pt modelId="{9426AFAD-C0A7-47A2-AC27-B80562DB16EE}">
      <dgm:prSet phldrT="[Text]"/>
      <dgm:spPr/>
      <dgm:t>
        <a:bodyPr/>
        <a:lstStyle/>
        <a:p>
          <a:r>
            <a:rPr lang="en-GB" dirty="0"/>
            <a:t>Partial and complete lockdown</a:t>
          </a:r>
        </a:p>
      </dgm:t>
    </dgm:pt>
    <dgm:pt modelId="{9C5D0597-112C-4750-9E9C-8CC649EA85A9}" type="parTrans" cxnId="{C064E2BA-E9BD-41FD-B459-681F3719F338}">
      <dgm:prSet/>
      <dgm:spPr/>
      <dgm:t>
        <a:bodyPr/>
        <a:lstStyle/>
        <a:p>
          <a:endParaRPr lang="en-GB"/>
        </a:p>
      </dgm:t>
    </dgm:pt>
    <dgm:pt modelId="{DBB774E3-9764-491B-9D0F-D307B02DA103}" type="sibTrans" cxnId="{C064E2BA-E9BD-41FD-B459-681F3719F338}">
      <dgm:prSet/>
      <dgm:spPr/>
      <dgm:t>
        <a:bodyPr/>
        <a:lstStyle/>
        <a:p>
          <a:endParaRPr lang="en-GB"/>
        </a:p>
      </dgm:t>
    </dgm:pt>
    <dgm:pt modelId="{2A135FC8-A18B-4172-9C8B-4CE7ED15646B}" type="pres">
      <dgm:prSet presAssocID="{10AEB52F-AA64-40C6-8CF3-FBFC935F36CD}" presName="linearFlow" presStyleCnt="0">
        <dgm:presLayoutVars>
          <dgm:dir/>
          <dgm:animLvl val="lvl"/>
          <dgm:resizeHandles val="exact"/>
        </dgm:presLayoutVars>
      </dgm:prSet>
      <dgm:spPr/>
    </dgm:pt>
    <dgm:pt modelId="{66A4A4C7-C699-44ED-96E5-4D3E10980895}" type="pres">
      <dgm:prSet presAssocID="{AE0DF7E8-6075-4523-836E-102ABEE19366}" presName="composite" presStyleCnt="0"/>
      <dgm:spPr/>
    </dgm:pt>
    <dgm:pt modelId="{DA030BDF-FCC3-4E6A-B8F0-C24C6DC0402A}" type="pres">
      <dgm:prSet presAssocID="{AE0DF7E8-6075-4523-836E-102ABEE19366}" presName="parTx" presStyleLbl="node1" presStyleIdx="0" presStyleCnt="3">
        <dgm:presLayoutVars>
          <dgm:chMax val="0"/>
          <dgm:chPref val="0"/>
          <dgm:bulletEnabled val="1"/>
        </dgm:presLayoutVars>
      </dgm:prSet>
      <dgm:spPr/>
    </dgm:pt>
    <dgm:pt modelId="{A33157B2-A005-442A-82C4-D7BB9F4B9FAA}" type="pres">
      <dgm:prSet presAssocID="{AE0DF7E8-6075-4523-836E-102ABEE19366}" presName="parSh" presStyleLbl="node1" presStyleIdx="0" presStyleCnt="3"/>
      <dgm:spPr/>
    </dgm:pt>
    <dgm:pt modelId="{3E04414B-E546-445C-9302-4DFD44F51DCB}" type="pres">
      <dgm:prSet presAssocID="{AE0DF7E8-6075-4523-836E-102ABEE19366}" presName="desTx" presStyleLbl="fgAcc1" presStyleIdx="0" presStyleCnt="3">
        <dgm:presLayoutVars>
          <dgm:bulletEnabled val="1"/>
        </dgm:presLayoutVars>
      </dgm:prSet>
      <dgm:spPr/>
    </dgm:pt>
    <dgm:pt modelId="{7B364501-6B61-4124-8975-C49BAD11259C}" type="pres">
      <dgm:prSet presAssocID="{5AD8BFBD-BB3E-4D42-90E2-D6ACEE213646}" presName="sibTrans" presStyleLbl="sibTrans2D1" presStyleIdx="0" presStyleCnt="2"/>
      <dgm:spPr/>
    </dgm:pt>
    <dgm:pt modelId="{AEB89B64-36F5-4C1A-96E4-44710E112F6A}" type="pres">
      <dgm:prSet presAssocID="{5AD8BFBD-BB3E-4D42-90E2-D6ACEE213646}" presName="connTx" presStyleLbl="sibTrans2D1" presStyleIdx="0" presStyleCnt="2"/>
      <dgm:spPr/>
    </dgm:pt>
    <dgm:pt modelId="{FC1ADEBD-72CC-49C5-8234-1313FE5E7D86}" type="pres">
      <dgm:prSet presAssocID="{B02DF5CA-3CB9-4918-BAC9-B0E7357FCE82}" presName="composite" presStyleCnt="0"/>
      <dgm:spPr/>
    </dgm:pt>
    <dgm:pt modelId="{BDF7F702-5D89-496C-8422-11E1E94EA2B3}" type="pres">
      <dgm:prSet presAssocID="{B02DF5CA-3CB9-4918-BAC9-B0E7357FCE82}" presName="parTx" presStyleLbl="node1" presStyleIdx="0" presStyleCnt="3">
        <dgm:presLayoutVars>
          <dgm:chMax val="0"/>
          <dgm:chPref val="0"/>
          <dgm:bulletEnabled val="1"/>
        </dgm:presLayoutVars>
      </dgm:prSet>
      <dgm:spPr/>
    </dgm:pt>
    <dgm:pt modelId="{131E5D29-3150-4400-BE31-42025CD714E1}" type="pres">
      <dgm:prSet presAssocID="{B02DF5CA-3CB9-4918-BAC9-B0E7357FCE82}" presName="parSh" presStyleLbl="node1" presStyleIdx="1" presStyleCnt="3"/>
      <dgm:spPr/>
    </dgm:pt>
    <dgm:pt modelId="{A13F5EF9-557F-4CE9-A102-D2AED3BE89C5}" type="pres">
      <dgm:prSet presAssocID="{B02DF5CA-3CB9-4918-BAC9-B0E7357FCE82}" presName="desTx" presStyleLbl="fgAcc1" presStyleIdx="1" presStyleCnt="3">
        <dgm:presLayoutVars>
          <dgm:bulletEnabled val="1"/>
        </dgm:presLayoutVars>
      </dgm:prSet>
      <dgm:spPr/>
    </dgm:pt>
    <dgm:pt modelId="{E30B66FF-D6F2-4483-A57A-DD632D83C458}" type="pres">
      <dgm:prSet presAssocID="{DBF9BCCC-237C-48D1-AA5A-121A3843FDA9}" presName="sibTrans" presStyleLbl="sibTrans2D1" presStyleIdx="1" presStyleCnt="2"/>
      <dgm:spPr/>
    </dgm:pt>
    <dgm:pt modelId="{BCDFB37E-E93F-4C1E-9465-A61D01B6B770}" type="pres">
      <dgm:prSet presAssocID="{DBF9BCCC-237C-48D1-AA5A-121A3843FDA9}" presName="connTx" presStyleLbl="sibTrans2D1" presStyleIdx="1" presStyleCnt="2"/>
      <dgm:spPr/>
    </dgm:pt>
    <dgm:pt modelId="{C873BA60-6C06-4D8A-B1E2-C5A97A0C2135}" type="pres">
      <dgm:prSet presAssocID="{F83EBDED-2E56-41B9-9F22-322F673D674D}" presName="composite" presStyleCnt="0"/>
      <dgm:spPr/>
    </dgm:pt>
    <dgm:pt modelId="{3B431D58-E0E6-4FBC-A6E2-4324E6DF2D17}" type="pres">
      <dgm:prSet presAssocID="{F83EBDED-2E56-41B9-9F22-322F673D674D}" presName="parTx" presStyleLbl="node1" presStyleIdx="1" presStyleCnt="3">
        <dgm:presLayoutVars>
          <dgm:chMax val="0"/>
          <dgm:chPref val="0"/>
          <dgm:bulletEnabled val="1"/>
        </dgm:presLayoutVars>
      </dgm:prSet>
      <dgm:spPr/>
    </dgm:pt>
    <dgm:pt modelId="{0EDEBD6F-B588-4812-A6F5-26EF688F447F}" type="pres">
      <dgm:prSet presAssocID="{F83EBDED-2E56-41B9-9F22-322F673D674D}" presName="parSh" presStyleLbl="node1" presStyleIdx="2" presStyleCnt="3"/>
      <dgm:spPr/>
    </dgm:pt>
    <dgm:pt modelId="{24BEF3FC-F2E7-4209-9385-5B99C50BD6AF}" type="pres">
      <dgm:prSet presAssocID="{F83EBDED-2E56-41B9-9F22-322F673D674D}" presName="desTx" presStyleLbl="fgAcc1" presStyleIdx="2" presStyleCnt="3">
        <dgm:presLayoutVars>
          <dgm:bulletEnabled val="1"/>
        </dgm:presLayoutVars>
      </dgm:prSet>
      <dgm:spPr/>
    </dgm:pt>
  </dgm:ptLst>
  <dgm:cxnLst>
    <dgm:cxn modelId="{1C7A9A12-27C0-407D-8DF5-E8B3705E729A}" type="presOf" srcId="{5AD8BFBD-BB3E-4D42-90E2-D6ACEE213646}" destId="{7B364501-6B61-4124-8975-C49BAD11259C}" srcOrd="0" destOrd="0" presId="urn:microsoft.com/office/officeart/2005/8/layout/process3"/>
    <dgm:cxn modelId="{54C85B1A-D8C8-41B1-8978-CEDCCE8FAD46}" srcId="{AE0DF7E8-6075-4523-836E-102ABEE19366}" destId="{3D5EFD7C-65D1-47D0-BE72-3B25F07BEA06}" srcOrd="0" destOrd="0" parTransId="{F94AA5C8-1757-4849-AD99-0CF913DBF90C}" sibTransId="{1A33E672-0378-4F25-A739-34F00DAF988D}"/>
    <dgm:cxn modelId="{02ABD31C-D757-4437-821F-CD719842A523}" type="presOf" srcId="{9426AFAD-C0A7-47A2-AC27-B80562DB16EE}" destId="{24BEF3FC-F2E7-4209-9385-5B99C50BD6AF}" srcOrd="0" destOrd="0" presId="urn:microsoft.com/office/officeart/2005/8/layout/process3"/>
    <dgm:cxn modelId="{CE7A3960-DD38-4B71-9FDE-8D34D639A305}" type="presOf" srcId="{DBF9BCCC-237C-48D1-AA5A-121A3843FDA9}" destId="{E30B66FF-D6F2-4483-A57A-DD632D83C458}" srcOrd="0" destOrd="0" presId="urn:microsoft.com/office/officeart/2005/8/layout/process3"/>
    <dgm:cxn modelId="{DC8AED47-1FAA-4074-A034-9D41E09B336D}" type="presOf" srcId="{F83EBDED-2E56-41B9-9F22-322F673D674D}" destId="{0EDEBD6F-B588-4812-A6F5-26EF688F447F}" srcOrd="1" destOrd="0" presId="urn:microsoft.com/office/officeart/2005/8/layout/process3"/>
    <dgm:cxn modelId="{AFAABB4A-D541-4C6A-B5E8-1E8EAE6E1D12}" srcId="{10AEB52F-AA64-40C6-8CF3-FBFC935F36CD}" destId="{F83EBDED-2E56-41B9-9F22-322F673D674D}" srcOrd="2" destOrd="0" parTransId="{D87546EA-76CA-4CD9-BFDB-7AE0B1EEA375}" sibTransId="{B3106F35-4E1E-4155-9098-8F20DAE781BD}"/>
    <dgm:cxn modelId="{A1821277-20B6-41AF-9839-421AA42BD4F0}" srcId="{10AEB52F-AA64-40C6-8CF3-FBFC935F36CD}" destId="{B02DF5CA-3CB9-4918-BAC9-B0E7357FCE82}" srcOrd="1" destOrd="0" parTransId="{7E469B69-6A7C-4009-8F1B-6311ED2FBEBF}" sibTransId="{DBF9BCCC-237C-48D1-AA5A-121A3843FDA9}"/>
    <dgm:cxn modelId="{5F005286-7DC5-46B1-B4AB-4DD26E75F9D8}" type="presOf" srcId="{2F5AE5AA-3E11-4FD8-90E7-78109CDD7C8F}" destId="{A13F5EF9-557F-4CE9-A102-D2AED3BE89C5}" srcOrd="0" destOrd="0" presId="urn:microsoft.com/office/officeart/2005/8/layout/process3"/>
    <dgm:cxn modelId="{6FC2B0A2-32B2-414E-AA78-EE76EC93E706}" type="presOf" srcId="{5AD8BFBD-BB3E-4D42-90E2-D6ACEE213646}" destId="{AEB89B64-36F5-4C1A-96E4-44710E112F6A}" srcOrd="1" destOrd="0" presId="urn:microsoft.com/office/officeart/2005/8/layout/process3"/>
    <dgm:cxn modelId="{11B0C5AA-708D-4F24-9F9D-16FF0D308291}" type="presOf" srcId="{AE0DF7E8-6075-4523-836E-102ABEE19366}" destId="{DA030BDF-FCC3-4E6A-B8F0-C24C6DC0402A}" srcOrd="0" destOrd="0" presId="urn:microsoft.com/office/officeart/2005/8/layout/process3"/>
    <dgm:cxn modelId="{F87151AC-1F96-4DAC-8FDE-6A99DEDDB861}" srcId="{10AEB52F-AA64-40C6-8CF3-FBFC935F36CD}" destId="{AE0DF7E8-6075-4523-836E-102ABEE19366}" srcOrd="0" destOrd="0" parTransId="{2857199B-3F67-4D74-9FC7-7BF5D200F334}" sibTransId="{5AD8BFBD-BB3E-4D42-90E2-D6ACEE213646}"/>
    <dgm:cxn modelId="{8023BEB1-F2AC-498A-B487-03DCDB60A2AC}" type="presOf" srcId="{B02DF5CA-3CB9-4918-BAC9-B0E7357FCE82}" destId="{131E5D29-3150-4400-BE31-42025CD714E1}" srcOrd="1" destOrd="0" presId="urn:microsoft.com/office/officeart/2005/8/layout/process3"/>
    <dgm:cxn modelId="{133A24B8-C366-4006-A539-526097CC8D00}" type="presOf" srcId="{F83EBDED-2E56-41B9-9F22-322F673D674D}" destId="{3B431D58-E0E6-4FBC-A6E2-4324E6DF2D17}" srcOrd="0" destOrd="0" presId="urn:microsoft.com/office/officeart/2005/8/layout/process3"/>
    <dgm:cxn modelId="{C064E2BA-E9BD-41FD-B459-681F3719F338}" srcId="{F83EBDED-2E56-41B9-9F22-322F673D674D}" destId="{9426AFAD-C0A7-47A2-AC27-B80562DB16EE}" srcOrd="0" destOrd="0" parTransId="{9C5D0597-112C-4750-9E9C-8CC649EA85A9}" sibTransId="{DBB774E3-9764-491B-9D0F-D307B02DA103}"/>
    <dgm:cxn modelId="{553E77C2-4117-4FB1-967D-E430F31E420E}" type="presOf" srcId="{10AEB52F-AA64-40C6-8CF3-FBFC935F36CD}" destId="{2A135FC8-A18B-4172-9C8B-4CE7ED15646B}" srcOrd="0" destOrd="0" presId="urn:microsoft.com/office/officeart/2005/8/layout/process3"/>
    <dgm:cxn modelId="{C2428CE4-E879-479B-BACD-5C1A5B9B1C30}" type="presOf" srcId="{3D5EFD7C-65D1-47D0-BE72-3B25F07BEA06}" destId="{3E04414B-E546-445C-9302-4DFD44F51DCB}" srcOrd="0" destOrd="0" presId="urn:microsoft.com/office/officeart/2005/8/layout/process3"/>
    <dgm:cxn modelId="{66EFB8E5-45D6-4C38-93CC-49FF6AC50D22}" type="presOf" srcId="{AE0DF7E8-6075-4523-836E-102ABEE19366}" destId="{A33157B2-A005-442A-82C4-D7BB9F4B9FAA}" srcOrd="1" destOrd="0" presId="urn:microsoft.com/office/officeart/2005/8/layout/process3"/>
    <dgm:cxn modelId="{F9C252E7-430E-49A9-BF01-26EB4360354D}" type="presOf" srcId="{B02DF5CA-3CB9-4918-BAC9-B0E7357FCE82}" destId="{BDF7F702-5D89-496C-8422-11E1E94EA2B3}" srcOrd="0" destOrd="0" presId="urn:microsoft.com/office/officeart/2005/8/layout/process3"/>
    <dgm:cxn modelId="{04A08FE7-A2FD-41AD-AA83-504FE6045759}" srcId="{B02DF5CA-3CB9-4918-BAC9-B0E7357FCE82}" destId="{2F5AE5AA-3E11-4FD8-90E7-78109CDD7C8F}" srcOrd="0" destOrd="0" parTransId="{BF4E2C89-59AB-48D6-BDC0-789A534C151C}" sibTransId="{36CA03F2-1514-4D13-B25F-7014EEA1E62B}"/>
    <dgm:cxn modelId="{5716A3FE-9DBA-4554-94CB-D7295F53D1D6}" type="presOf" srcId="{DBF9BCCC-237C-48D1-AA5A-121A3843FDA9}" destId="{BCDFB37E-E93F-4C1E-9465-A61D01B6B770}" srcOrd="1" destOrd="0" presId="urn:microsoft.com/office/officeart/2005/8/layout/process3"/>
    <dgm:cxn modelId="{13A250D4-3BCD-4E8A-B7D9-7AC4BF6A2185}" type="presParOf" srcId="{2A135FC8-A18B-4172-9C8B-4CE7ED15646B}" destId="{66A4A4C7-C699-44ED-96E5-4D3E10980895}" srcOrd="0" destOrd="0" presId="urn:microsoft.com/office/officeart/2005/8/layout/process3"/>
    <dgm:cxn modelId="{28152212-83C4-49C0-8070-D8A92EA77826}" type="presParOf" srcId="{66A4A4C7-C699-44ED-96E5-4D3E10980895}" destId="{DA030BDF-FCC3-4E6A-B8F0-C24C6DC0402A}" srcOrd="0" destOrd="0" presId="urn:microsoft.com/office/officeart/2005/8/layout/process3"/>
    <dgm:cxn modelId="{B50CCF47-F5C9-45BC-9B37-84677BF657BB}" type="presParOf" srcId="{66A4A4C7-C699-44ED-96E5-4D3E10980895}" destId="{A33157B2-A005-442A-82C4-D7BB9F4B9FAA}" srcOrd="1" destOrd="0" presId="urn:microsoft.com/office/officeart/2005/8/layout/process3"/>
    <dgm:cxn modelId="{0CEFC3EA-473F-4158-B20F-74622735645A}" type="presParOf" srcId="{66A4A4C7-C699-44ED-96E5-4D3E10980895}" destId="{3E04414B-E546-445C-9302-4DFD44F51DCB}" srcOrd="2" destOrd="0" presId="urn:microsoft.com/office/officeart/2005/8/layout/process3"/>
    <dgm:cxn modelId="{A7F8D33D-2127-4AB7-84A5-BAF7DBF87807}" type="presParOf" srcId="{2A135FC8-A18B-4172-9C8B-4CE7ED15646B}" destId="{7B364501-6B61-4124-8975-C49BAD11259C}" srcOrd="1" destOrd="0" presId="urn:microsoft.com/office/officeart/2005/8/layout/process3"/>
    <dgm:cxn modelId="{BDACF801-969A-4CB5-BE90-5114A8EC5DD4}" type="presParOf" srcId="{7B364501-6B61-4124-8975-C49BAD11259C}" destId="{AEB89B64-36F5-4C1A-96E4-44710E112F6A}" srcOrd="0" destOrd="0" presId="urn:microsoft.com/office/officeart/2005/8/layout/process3"/>
    <dgm:cxn modelId="{677DC99F-C91B-4A3A-843F-79F20338B77D}" type="presParOf" srcId="{2A135FC8-A18B-4172-9C8B-4CE7ED15646B}" destId="{FC1ADEBD-72CC-49C5-8234-1313FE5E7D86}" srcOrd="2" destOrd="0" presId="urn:microsoft.com/office/officeart/2005/8/layout/process3"/>
    <dgm:cxn modelId="{7DAB2469-7924-4C57-8DFC-E8F1FF682E01}" type="presParOf" srcId="{FC1ADEBD-72CC-49C5-8234-1313FE5E7D86}" destId="{BDF7F702-5D89-496C-8422-11E1E94EA2B3}" srcOrd="0" destOrd="0" presId="urn:microsoft.com/office/officeart/2005/8/layout/process3"/>
    <dgm:cxn modelId="{3327278F-2648-40E5-BB80-E0C695CBF6E4}" type="presParOf" srcId="{FC1ADEBD-72CC-49C5-8234-1313FE5E7D86}" destId="{131E5D29-3150-4400-BE31-42025CD714E1}" srcOrd="1" destOrd="0" presId="urn:microsoft.com/office/officeart/2005/8/layout/process3"/>
    <dgm:cxn modelId="{F86832BB-E551-4F6E-B09B-C6A33A1E9FA2}" type="presParOf" srcId="{FC1ADEBD-72CC-49C5-8234-1313FE5E7D86}" destId="{A13F5EF9-557F-4CE9-A102-D2AED3BE89C5}" srcOrd="2" destOrd="0" presId="urn:microsoft.com/office/officeart/2005/8/layout/process3"/>
    <dgm:cxn modelId="{A979652A-6667-4D4E-BEFE-CCF1A66DA741}" type="presParOf" srcId="{2A135FC8-A18B-4172-9C8B-4CE7ED15646B}" destId="{E30B66FF-D6F2-4483-A57A-DD632D83C458}" srcOrd="3" destOrd="0" presId="urn:microsoft.com/office/officeart/2005/8/layout/process3"/>
    <dgm:cxn modelId="{27C1F4A0-F9BB-4B82-9327-F903D1BABACF}" type="presParOf" srcId="{E30B66FF-D6F2-4483-A57A-DD632D83C458}" destId="{BCDFB37E-E93F-4C1E-9465-A61D01B6B770}" srcOrd="0" destOrd="0" presId="urn:microsoft.com/office/officeart/2005/8/layout/process3"/>
    <dgm:cxn modelId="{276ADBFE-7A44-4953-B4EF-68BDFCCED8E0}" type="presParOf" srcId="{2A135FC8-A18B-4172-9C8B-4CE7ED15646B}" destId="{C873BA60-6C06-4D8A-B1E2-C5A97A0C2135}" srcOrd="4" destOrd="0" presId="urn:microsoft.com/office/officeart/2005/8/layout/process3"/>
    <dgm:cxn modelId="{8515AAD9-CA51-468C-8266-3570849B7B5A}" type="presParOf" srcId="{C873BA60-6C06-4D8A-B1E2-C5A97A0C2135}" destId="{3B431D58-E0E6-4FBC-A6E2-4324E6DF2D17}" srcOrd="0" destOrd="0" presId="urn:microsoft.com/office/officeart/2005/8/layout/process3"/>
    <dgm:cxn modelId="{4B701106-D139-4CC2-816F-8EC0B1E331FB}" type="presParOf" srcId="{C873BA60-6C06-4D8A-B1E2-C5A97A0C2135}" destId="{0EDEBD6F-B588-4812-A6F5-26EF688F447F}" srcOrd="1" destOrd="0" presId="urn:microsoft.com/office/officeart/2005/8/layout/process3"/>
    <dgm:cxn modelId="{0C0E2246-1EA0-425C-83BC-E5D40F18B270}" type="presParOf" srcId="{C873BA60-6C06-4D8A-B1E2-C5A97A0C2135}" destId="{24BEF3FC-F2E7-4209-9385-5B99C50BD6AF}"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EB52F-AA64-40C6-8CF3-FBFC935F36C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AE0DF7E8-6075-4523-836E-102ABEE19366}">
      <dgm:prSet phldrT="[Text]"/>
      <dgm:spPr/>
      <dgm:t>
        <a:bodyPr/>
        <a:lstStyle/>
        <a:p>
          <a:r>
            <a:rPr lang="en-GB" dirty="0"/>
            <a:t>Identify</a:t>
          </a:r>
        </a:p>
      </dgm:t>
    </dgm:pt>
    <dgm:pt modelId="{2857199B-3F67-4D74-9FC7-7BF5D200F334}" type="parTrans" cxnId="{F87151AC-1F96-4DAC-8FDE-6A99DEDDB861}">
      <dgm:prSet/>
      <dgm:spPr/>
      <dgm:t>
        <a:bodyPr/>
        <a:lstStyle/>
        <a:p>
          <a:endParaRPr lang="en-GB"/>
        </a:p>
      </dgm:t>
    </dgm:pt>
    <dgm:pt modelId="{5AD8BFBD-BB3E-4D42-90E2-D6ACEE213646}" type="sibTrans" cxnId="{F87151AC-1F96-4DAC-8FDE-6A99DEDDB861}">
      <dgm:prSet/>
      <dgm:spPr/>
      <dgm:t>
        <a:bodyPr/>
        <a:lstStyle/>
        <a:p>
          <a:endParaRPr lang="en-GB"/>
        </a:p>
      </dgm:t>
    </dgm:pt>
    <dgm:pt modelId="{3D5EFD7C-65D1-47D0-BE72-3B25F07BEA06}">
      <dgm:prSet phldrT="[Text]"/>
      <dgm:spPr/>
      <dgm:t>
        <a:bodyPr/>
        <a:lstStyle/>
        <a:p>
          <a:r>
            <a:rPr lang="en-GB" dirty="0"/>
            <a:t>Active surveillance and identifying the infected</a:t>
          </a:r>
        </a:p>
      </dgm:t>
    </dgm:pt>
    <dgm:pt modelId="{F94AA5C8-1757-4849-AD99-0CF913DBF90C}" type="parTrans" cxnId="{54C85B1A-D8C8-41B1-8978-CEDCCE8FAD46}">
      <dgm:prSet/>
      <dgm:spPr/>
      <dgm:t>
        <a:bodyPr/>
        <a:lstStyle/>
        <a:p>
          <a:endParaRPr lang="en-GB"/>
        </a:p>
      </dgm:t>
    </dgm:pt>
    <dgm:pt modelId="{1A33E672-0378-4F25-A739-34F00DAF988D}" type="sibTrans" cxnId="{54C85B1A-D8C8-41B1-8978-CEDCCE8FAD46}">
      <dgm:prSet/>
      <dgm:spPr/>
      <dgm:t>
        <a:bodyPr/>
        <a:lstStyle/>
        <a:p>
          <a:endParaRPr lang="en-GB"/>
        </a:p>
      </dgm:t>
    </dgm:pt>
    <dgm:pt modelId="{B02DF5CA-3CB9-4918-BAC9-B0E7357FCE82}">
      <dgm:prSet phldrT="[Text]"/>
      <dgm:spPr/>
      <dgm:t>
        <a:bodyPr/>
        <a:lstStyle/>
        <a:p>
          <a:r>
            <a:rPr lang="en-GB" dirty="0"/>
            <a:t>Isolate</a:t>
          </a:r>
        </a:p>
      </dgm:t>
    </dgm:pt>
    <dgm:pt modelId="{7E469B69-6A7C-4009-8F1B-6311ED2FBEBF}" type="parTrans" cxnId="{A1821277-20B6-41AF-9839-421AA42BD4F0}">
      <dgm:prSet/>
      <dgm:spPr/>
      <dgm:t>
        <a:bodyPr/>
        <a:lstStyle/>
        <a:p>
          <a:endParaRPr lang="en-GB"/>
        </a:p>
      </dgm:t>
    </dgm:pt>
    <dgm:pt modelId="{DBF9BCCC-237C-48D1-AA5A-121A3843FDA9}" type="sibTrans" cxnId="{A1821277-20B6-41AF-9839-421AA42BD4F0}">
      <dgm:prSet/>
      <dgm:spPr/>
      <dgm:t>
        <a:bodyPr/>
        <a:lstStyle/>
        <a:p>
          <a:endParaRPr lang="en-GB"/>
        </a:p>
      </dgm:t>
    </dgm:pt>
    <dgm:pt modelId="{2F5AE5AA-3E11-4FD8-90E7-78109CDD7C8F}">
      <dgm:prSet phldrT="[Text]"/>
      <dgm:spPr/>
      <dgm:t>
        <a:bodyPr/>
        <a:lstStyle/>
        <a:p>
          <a:r>
            <a:rPr lang="en-GB" dirty="0"/>
            <a:t>Isolate the infected from others</a:t>
          </a:r>
        </a:p>
      </dgm:t>
    </dgm:pt>
    <dgm:pt modelId="{BF4E2C89-59AB-48D6-BDC0-789A534C151C}" type="parTrans" cxnId="{04A08FE7-A2FD-41AD-AA83-504FE6045759}">
      <dgm:prSet/>
      <dgm:spPr/>
      <dgm:t>
        <a:bodyPr/>
        <a:lstStyle/>
        <a:p>
          <a:endParaRPr lang="en-GB"/>
        </a:p>
      </dgm:t>
    </dgm:pt>
    <dgm:pt modelId="{36CA03F2-1514-4D13-B25F-7014EEA1E62B}" type="sibTrans" cxnId="{04A08FE7-A2FD-41AD-AA83-504FE6045759}">
      <dgm:prSet/>
      <dgm:spPr/>
      <dgm:t>
        <a:bodyPr/>
        <a:lstStyle/>
        <a:p>
          <a:endParaRPr lang="en-GB"/>
        </a:p>
      </dgm:t>
    </dgm:pt>
    <dgm:pt modelId="{F83EBDED-2E56-41B9-9F22-322F673D674D}">
      <dgm:prSet phldrT="[Text]"/>
      <dgm:spPr/>
      <dgm:t>
        <a:bodyPr/>
        <a:lstStyle/>
        <a:p>
          <a:r>
            <a:rPr lang="en-GB" dirty="0"/>
            <a:t>Quarantine</a:t>
          </a:r>
        </a:p>
      </dgm:t>
    </dgm:pt>
    <dgm:pt modelId="{D87546EA-76CA-4CD9-BFDB-7AE0B1EEA375}" type="parTrans" cxnId="{AFAABB4A-D541-4C6A-B5E8-1E8EAE6E1D12}">
      <dgm:prSet/>
      <dgm:spPr/>
      <dgm:t>
        <a:bodyPr/>
        <a:lstStyle/>
        <a:p>
          <a:endParaRPr lang="en-GB"/>
        </a:p>
      </dgm:t>
    </dgm:pt>
    <dgm:pt modelId="{B3106F35-4E1E-4155-9098-8F20DAE781BD}" type="sibTrans" cxnId="{AFAABB4A-D541-4C6A-B5E8-1E8EAE6E1D12}">
      <dgm:prSet/>
      <dgm:spPr/>
      <dgm:t>
        <a:bodyPr/>
        <a:lstStyle/>
        <a:p>
          <a:endParaRPr lang="en-GB"/>
        </a:p>
      </dgm:t>
    </dgm:pt>
    <dgm:pt modelId="{9426AFAD-C0A7-47A2-AC27-B80562DB16EE}">
      <dgm:prSet phldrT="[Text]"/>
      <dgm:spPr/>
      <dgm:t>
        <a:bodyPr/>
        <a:lstStyle/>
        <a:p>
          <a:r>
            <a:rPr lang="en-GB" dirty="0"/>
            <a:t>Partial and complete lockdown</a:t>
          </a:r>
        </a:p>
      </dgm:t>
    </dgm:pt>
    <dgm:pt modelId="{9C5D0597-112C-4750-9E9C-8CC649EA85A9}" type="parTrans" cxnId="{C064E2BA-E9BD-41FD-B459-681F3719F338}">
      <dgm:prSet/>
      <dgm:spPr/>
      <dgm:t>
        <a:bodyPr/>
        <a:lstStyle/>
        <a:p>
          <a:endParaRPr lang="en-GB"/>
        </a:p>
      </dgm:t>
    </dgm:pt>
    <dgm:pt modelId="{DBB774E3-9764-491B-9D0F-D307B02DA103}" type="sibTrans" cxnId="{C064E2BA-E9BD-41FD-B459-681F3719F338}">
      <dgm:prSet/>
      <dgm:spPr/>
      <dgm:t>
        <a:bodyPr/>
        <a:lstStyle/>
        <a:p>
          <a:endParaRPr lang="en-GB"/>
        </a:p>
      </dgm:t>
    </dgm:pt>
    <dgm:pt modelId="{2A135FC8-A18B-4172-9C8B-4CE7ED15646B}" type="pres">
      <dgm:prSet presAssocID="{10AEB52F-AA64-40C6-8CF3-FBFC935F36CD}" presName="linearFlow" presStyleCnt="0">
        <dgm:presLayoutVars>
          <dgm:dir/>
          <dgm:animLvl val="lvl"/>
          <dgm:resizeHandles val="exact"/>
        </dgm:presLayoutVars>
      </dgm:prSet>
      <dgm:spPr/>
    </dgm:pt>
    <dgm:pt modelId="{66A4A4C7-C699-44ED-96E5-4D3E10980895}" type="pres">
      <dgm:prSet presAssocID="{AE0DF7E8-6075-4523-836E-102ABEE19366}" presName="composite" presStyleCnt="0"/>
      <dgm:spPr/>
    </dgm:pt>
    <dgm:pt modelId="{DA030BDF-FCC3-4E6A-B8F0-C24C6DC0402A}" type="pres">
      <dgm:prSet presAssocID="{AE0DF7E8-6075-4523-836E-102ABEE19366}" presName="parTx" presStyleLbl="node1" presStyleIdx="0" presStyleCnt="3">
        <dgm:presLayoutVars>
          <dgm:chMax val="0"/>
          <dgm:chPref val="0"/>
          <dgm:bulletEnabled val="1"/>
        </dgm:presLayoutVars>
      </dgm:prSet>
      <dgm:spPr/>
    </dgm:pt>
    <dgm:pt modelId="{A33157B2-A005-442A-82C4-D7BB9F4B9FAA}" type="pres">
      <dgm:prSet presAssocID="{AE0DF7E8-6075-4523-836E-102ABEE19366}" presName="parSh" presStyleLbl="node1" presStyleIdx="0" presStyleCnt="3"/>
      <dgm:spPr/>
    </dgm:pt>
    <dgm:pt modelId="{3E04414B-E546-445C-9302-4DFD44F51DCB}" type="pres">
      <dgm:prSet presAssocID="{AE0DF7E8-6075-4523-836E-102ABEE19366}" presName="desTx" presStyleLbl="fgAcc1" presStyleIdx="0" presStyleCnt="3">
        <dgm:presLayoutVars>
          <dgm:bulletEnabled val="1"/>
        </dgm:presLayoutVars>
      </dgm:prSet>
      <dgm:spPr/>
    </dgm:pt>
    <dgm:pt modelId="{7B364501-6B61-4124-8975-C49BAD11259C}" type="pres">
      <dgm:prSet presAssocID="{5AD8BFBD-BB3E-4D42-90E2-D6ACEE213646}" presName="sibTrans" presStyleLbl="sibTrans2D1" presStyleIdx="0" presStyleCnt="2"/>
      <dgm:spPr/>
    </dgm:pt>
    <dgm:pt modelId="{AEB89B64-36F5-4C1A-96E4-44710E112F6A}" type="pres">
      <dgm:prSet presAssocID="{5AD8BFBD-BB3E-4D42-90E2-D6ACEE213646}" presName="connTx" presStyleLbl="sibTrans2D1" presStyleIdx="0" presStyleCnt="2"/>
      <dgm:spPr/>
    </dgm:pt>
    <dgm:pt modelId="{FC1ADEBD-72CC-49C5-8234-1313FE5E7D86}" type="pres">
      <dgm:prSet presAssocID="{B02DF5CA-3CB9-4918-BAC9-B0E7357FCE82}" presName="composite" presStyleCnt="0"/>
      <dgm:spPr/>
    </dgm:pt>
    <dgm:pt modelId="{BDF7F702-5D89-496C-8422-11E1E94EA2B3}" type="pres">
      <dgm:prSet presAssocID="{B02DF5CA-3CB9-4918-BAC9-B0E7357FCE82}" presName="parTx" presStyleLbl="node1" presStyleIdx="0" presStyleCnt="3">
        <dgm:presLayoutVars>
          <dgm:chMax val="0"/>
          <dgm:chPref val="0"/>
          <dgm:bulletEnabled val="1"/>
        </dgm:presLayoutVars>
      </dgm:prSet>
      <dgm:spPr/>
    </dgm:pt>
    <dgm:pt modelId="{131E5D29-3150-4400-BE31-42025CD714E1}" type="pres">
      <dgm:prSet presAssocID="{B02DF5CA-3CB9-4918-BAC9-B0E7357FCE82}" presName="parSh" presStyleLbl="node1" presStyleIdx="1" presStyleCnt="3"/>
      <dgm:spPr/>
    </dgm:pt>
    <dgm:pt modelId="{A13F5EF9-557F-4CE9-A102-D2AED3BE89C5}" type="pres">
      <dgm:prSet presAssocID="{B02DF5CA-3CB9-4918-BAC9-B0E7357FCE82}" presName="desTx" presStyleLbl="fgAcc1" presStyleIdx="1" presStyleCnt="3">
        <dgm:presLayoutVars>
          <dgm:bulletEnabled val="1"/>
        </dgm:presLayoutVars>
      </dgm:prSet>
      <dgm:spPr/>
    </dgm:pt>
    <dgm:pt modelId="{E30B66FF-D6F2-4483-A57A-DD632D83C458}" type="pres">
      <dgm:prSet presAssocID="{DBF9BCCC-237C-48D1-AA5A-121A3843FDA9}" presName="sibTrans" presStyleLbl="sibTrans2D1" presStyleIdx="1" presStyleCnt="2"/>
      <dgm:spPr/>
    </dgm:pt>
    <dgm:pt modelId="{BCDFB37E-E93F-4C1E-9465-A61D01B6B770}" type="pres">
      <dgm:prSet presAssocID="{DBF9BCCC-237C-48D1-AA5A-121A3843FDA9}" presName="connTx" presStyleLbl="sibTrans2D1" presStyleIdx="1" presStyleCnt="2"/>
      <dgm:spPr/>
    </dgm:pt>
    <dgm:pt modelId="{C873BA60-6C06-4D8A-B1E2-C5A97A0C2135}" type="pres">
      <dgm:prSet presAssocID="{F83EBDED-2E56-41B9-9F22-322F673D674D}" presName="composite" presStyleCnt="0"/>
      <dgm:spPr/>
    </dgm:pt>
    <dgm:pt modelId="{3B431D58-E0E6-4FBC-A6E2-4324E6DF2D17}" type="pres">
      <dgm:prSet presAssocID="{F83EBDED-2E56-41B9-9F22-322F673D674D}" presName="parTx" presStyleLbl="node1" presStyleIdx="1" presStyleCnt="3">
        <dgm:presLayoutVars>
          <dgm:chMax val="0"/>
          <dgm:chPref val="0"/>
          <dgm:bulletEnabled val="1"/>
        </dgm:presLayoutVars>
      </dgm:prSet>
      <dgm:spPr/>
    </dgm:pt>
    <dgm:pt modelId="{0EDEBD6F-B588-4812-A6F5-26EF688F447F}" type="pres">
      <dgm:prSet presAssocID="{F83EBDED-2E56-41B9-9F22-322F673D674D}" presName="parSh" presStyleLbl="node1" presStyleIdx="2" presStyleCnt="3"/>
      <dgm:spPr/>
    </dgm:pt>
    <dgm:pt modelId="{24BEF3FC-F2E7-4209-9385-5B99C50BD6AF}" type="pres">
      <dgm:prSet presAssocID="{F83EBDED-2E56-41B9-9F22-322F673D674D}" presName="desTx" presStyleLbl="fgAcc1" presStyleIdx="2" presStyleCnt="3">
        <dgm:presLayoutVars>
          <dgm:bulletEnabled val="1"/>
        </dgm:presLayoutVars>
      </dgm:prSet>
      <dgm:spPr/>
    </dgm:pt>
  </dgm:ptLst>
  <dgm:cxnLst>
    <dgm:cxn modelId="{1C7A9A12-27C0-407D-8DF5-E8B3705E729A}" type="presOf" srcId="{5AD8BFBD-BB3E-4D42-90E2-D6ACEE213646}" destId="{7B364501-6B61-4124-8975-C49BAD11259C}" srcOrd="0" destOrd="0" presId="urn:microsoft.com/office/officeart/2005/8/layout/process3"/>
    <dgm:cxn modelId="{54C85B1A-D8C8-41B1-8978-CEDCCE8FAD46}" srcId="{AE0DF7E8-6075-4523-836E-102ABEE19366}" destId="{3D5EFD7C-65D1-47D0-BE72-3B25F07BEA06}" srcOrd="0" destOrd="0" parTransId="{F94AA5C8-1757-4849-AD99-0CF913DBF90C}" sibTransId="{1A33E672-0378-4F25-A739-34F00DAF988D}"/>
    <dgm:cxn modelId="{02ABD31C-D757-4437-821F-CD719842A523}" type="presOf" srcId="{9426AFAD-C0A7-47A2-AC27-B80562DB16EE}" destId="{24BEF3FC-F2E7-4209-9385-5B99C50BD6AF}" srcOrd="0" destOrd="0" presId="urn:microsoft.com/office/officeart/2005/8/layout/process3"/>
    <dgm:cxn modelId="{CE7A3960-DD38-4B71-9FDE-8D34D639A305}" type="presOf" srcId="{DBF9BCCC-237C-48D1-AA5A-121A3843FDA9}" destId="{E30B66FF-D6F2-4483-A57A-DD632D83C458}" srcOrd="0" destOrd="0" presId="urn:microsoft.com/office/officeart/2005/8/layout/process3"/>
    <dgm:cxn modelId="{DC8AED47-1FAA-4074-A034-9D41E09B336D}" type="presOf" srcId="{F83EBDED-2E56-41B9-9F22-322F673D674D}" destId="{0EDEBD6F-B588-4812-A6F5-26EF688F447F}" srcOrd="1" destOrd="0" presId="urn:microsoft.com/office/officeart/2005/8/layout/process3"/>
    <dgm:cxn modelId="{AFAABB4A-D541-4C6A-B5E8-1E8EAE6E1D12}" srcId="{10AEB52F-AA64-40C6-8CF3-FBFC935F36CD}" destId="{F83EBDED-2E56-41B9-9F22-322F673D674D}" srcOrd="2" destOrd="0" parTransId="{D87546EA-76CA-4CD9-BFDB-7AE0B1EEA375}" sibTransId="{B3106F35-4E1E-4155-9098-8F20DAE781BD}"/>
    <dgm:cxn modelId="{A1821277-20B6-41AF-9839-421AA42BD4F0}" srcId="{10AEB52F-AA64-40C6-8CF3-FBFC935F36CD}" destId="{B02DF5CA-3CB9-4918-BAC9-B0E7357FCE82}" srcOrd="1" destOrd="0" parTransId="{7E469B69-6A7C-4009-8F1B-6311ED2FBEBF}" sibTransId="{DBF9BCCC-237C-48D1-AA5A-121A3843FDA9}"/>
    <dgm:cxn modelId="{5F005286-7DC5-46B1-B4AB-4DD26E75F9D8}" type="presOf" srcId="{2F5AE5AA-3E11-4FD8-90E7-78109CDD7C8F}" destId="{A13F5EF9-557F-4CE9-A102-D2AED3BE89C5}" srcOrd="0" destOrd="0" presId="urn:microsoft.com/office/officeart/2005/8/layout/process3"/>
    <dgm:cxn modelId="{6FC2B0A2-32B2-414E-AA78-EE76EC93E706}" type="presOf" srcId="{5AD8BFBD-BB3E-4D42-90E2-D6ACEE213646}" destId="{AEB89B64-36F5-4C1A-96E4-44710E112F6A}" srcOrd="1" destOrd="0" presId="urn:microsoft.com/office/officeart/2005/8/layout/process3"/>
    <dgm:cxn modelId="{11B0C5AA-708D-4F24-9F9D-16FF0D308291}" type="presOf" srcId="{AE0DF7E8-6075-4523-836E-102ABEE19366}" destId="{DA030BDF-FCC3-4E6A-B8F0-C24C6DC0402A}" srcOrd="0" destOrd="0" presId="urn:microsoft.com/office/officeart/2005/8/layout/process3"/>
    <dgm:cxn modelId="{F87151AC-1F96-4DAC-8FDE-6A99DEDDB861}" srcId="{10AEB52F-AA64-40C6-8CF3-FBFC935F36CD}" destId="{AE0DF7E8-6075-4523-836E-102ABEE19366}" srcOrd="0" destOrd="0" parTransId="{2857199B-3F67-4D74-9FC7-7BF5D200F334}" sibTransId="{5AD8BFBD-BB3E-4D42-90E2-D6ACEE213646}"/>
    <dgm:cxn modelId="{8023BEB1-F2AC-498A-B487-03DCDB60A2AC}" type="presOf" srcId="{B02DF5CA-3CB9-4918-BAC9-B0E7357FCE82}" destId="{131E5D29-3150-4400-BE31-42025CD714E1}" srcOrd="1" destOrd="0" presId="urn:microsoft.com/office/officeart/2005/8/layout/process3"/>
    <dgm:cxn modelId="{133A24B8-C366-4006-A539-526097CC8D00}" type="presOf" srcId="{F83EBDED-2E56-41B9-9F22-322F673D674D}" destId="{3B431D58-E0E6-4FBC-A6E2-4324E6DF2D17}" srcOrd="0" destOrd="0" presId="urn:microsoft.com/office/officeart/2005/8/layout/process3"/>
    <dgm:cxn modelId="{C064E2BA-E9BD-41FD-B459-681F3719F338}" srcId="{F83EBDED-2E56-41B9-9F22-322F673D674D}" destId="{9426AFAD-C0A7-47A2-AC27-B80562DB16EE}" srcOrd="0" destOrd="0" parTransId="{9C5D0597-112C-4750-9E9C-8CC649EA85A9}" sibTransId="{DBB774E3-9764-491B-9D0F-D307B02DA103}"/>
    <dgm:cxn modelId="{553E77C2-4117-4FB1-967D-E430F31E420E}" type="presOf" srcId="{10AEB52F-AA64-40C6-8CF3-FBFC935F36CD}" destId="{2A135FC8-A18B-4172-9C8B-4CE7ED15646B}" srcOrd="0" destOrd="0" presId="urn:microsoft.com/office/officeart/2005/8/layout/process3"/>
    <dgm:cxn modelId="{C2428CE4-E879-479B-BACD-5C1A5B9B1C30}" type="presOf" srcId="{3D5EFD7C-65D1-47D0-BE72-3B25F07BEA06}" destId="{3E04414B-E546-445C-9302-4DFD44F51DCB}" srcOrd="0" destOrd="0" presId="urn:microsoft.com/office/officeart/2005/8/layout/process3"/>
    <dgm:cxn modelId="{66EFB8E5-45D6-4C38-93CC-49FF6AC50D22}" type="presOf" srcId="{AE0DF7E8-6075-4523-836E-102ABEE19366}" destId="{A33157B2-A005-442A-82C4-D7BB9F4B9FAA}" srcOrd="1" destOrd="0" presId="urn:microsoft.com/office/officeart/2005/8/layout/process3"/>
    <dgm:cxn modelId="{F9C252E7-430E-49A9-BF01-26EB4360354D}" type="presOf" srcId="{B02DF5CA-3CB9-4918-BAC9-B0E7357FCE82}" destId="{BDF7F702-5D89-496C-8422-11E1E94EA2B3}" srcOrd="0" destOrd="0" presId="urn:microsoft.com/office/officeart/2005/8/layout/process3"/>
    <dgm:cxn modelId="{04A08FE7-A2FD-41AD-AA83-504FE6045759}" srcId="{B02DF5CA-3CB9-4918-BAC9-B0E7357FCE82}" destId="{2F5AE5AA-3E11-4FD8-90E7-78109CDD7C8F}" srcOrd="0" destOrd="0" parTransId="{BF4E2C89-59AB-48D6-BDC0-789A534C151C}" sibTransId="{36CA03F2-1514-4D13-B25F-7014EEA1E62B}"/>
    <dgm:cxn modelId="{5716A3FE-9DBA-4554-94CB-D7295F53D1D6}" type="presOf" srcId="{DBF9BCCC-237C-48D1-AA5A-121A3843FDA9}" destId="{BCDFB37E-E93F-4C1E-9465-A61D01B6B770}" srcOrd="1" destOrd="0" presId="urn:microsoft.com/office/officeart/2005/8/layout/process3"/>
    <dgm:cxn modelId="{13A250D4-3BCD-4E8A-B7D9-7AC4BF6A2185}" type="presParOf" srcId="{2A135FC8-A18B-4172-9C8B-4CE7ED15646B}" destId="{66A4A4C7-C699-44ED-96E5-4D3E10980895}" srcOrd="0" destOrd="0" presId="urn:microsoft.com/office/officeart/2005/8/layout/process3"/>
    <dgm:cxn modelId="{28152212-83C4-49C0-8070-D8A92EA77826}" type="presParOf" srcId="{66A4A4C7-C699-44ED-96E5-4D3E10980895}" destId="{DA030BDF-FCC3-4E6A-B8F0-C24C6DC0402A}" srcOrd="0" destOrd="0" presId="urn:microsoft.com/office/officeart/2005/8/layout/process3"/>
    <dgm:cxn modelId="{B50CCF47-F5C9-45BC-9B37-84677BF657BB}" type="presParOf" srcId="{66A4A4C7-C699-44ED-96E5-4D3E10980895}" destId="{A33157B2-A005-442A-82C4-D7BB9F4B9FAA}" srcOrd="1" destOrd="0" presId="urn:microsoft.com/office/officeart/2005/8/layout/process3"/>
    <dgm:cxn modelId="{0CEFC3EA-473F-4158-B20F-74622735645A}" type="presParOf" srcId="{66A4A4C7-C699-44ED-96E5-4D3E10980895}" destId="{3E04414B-E546-445C-9302-4DFD44F51DCB}" srcOrd="2" destOrd="0" presId="urn:microsoft.com/office/officeart/2005/8/layout/process3"/>
    <dgm:cxn modelId="{A7F8D33D-2127-4AB7-84A5-BAF7DBF87807}" type="presParOf" srcId="{2A135FC8-A18B-4172-9C8B-4CE7ED15646B}" destId="{7B364501-6B61-4124-8975-C49BAD11259C}" srcOrd="1" destOrd="0" presId="urn:microsoft.com/office/officeart/2005/8/layout/process3"/>
    <dgm:cxn modelId="{BDACF801-969A-4CB5-BE90-5114A8EC5DD4}" type="presParOf" srcId="{7B364501-6B61-4124-8975-C49BAD11259C}" destId="{AEB89B64-36F5-4C1A-96E4-44710E112F6A}" srcOrd="0" destOrd="0" presId="urn:microsoft.com/office/officeart/2005/8/layout/process3"/>
    <dgm:cxn modelId="{677DC99F-C91B-4A3A-843F-79F20338B77D}" type="presParOf" srcId="{2A135FC8-A18B-4172-9C8B-4CE7ED15646B}" destId="{FC1ADEBD-72CC-49C5-8234-1313FE5E7D86}" srcOrd="2" destOrd="0" presId="urn:microsoft.com/office/officeart/2005/8/layout/process3"/>
    <dgm:cxn modelId="{7DAB2469-7924-4C57-8DFC-E8F1FF682E01}" type="presParOf" srcId="{FC1ADEBD-72CC-49C5-8234-1313FE5E7D86}" destId="{BDF7F702-5D89-496C-8422-11E1E94EA2B3}" srcOrd="0" destOrd="0" presId="urn:microsoft.com/office/officeart/2005/8/layout/process3"/>
    <dgm:cxn modelId="{3327278F-2648-40E5-BB80-E0C695CBF6E4}" type="presParOf" srcId="{FC1ADEBD-72CC-49C5-8234-1313FE5E7D86}" destId="{131E5D29-3150-4400-BE31-42025CD714E1}" srcOrd="1" destOrd="0" presId="urn:microsoft.com/office/officeart/2005/8/layout/process3"/>
    <dgm:cxn modelId="{F86832BB-E551-4F6E-B09B-C6A33A1E9FA2}" type="presParOf" srcId="{FC1ADEBD-72CC-49C5-8234-1313FE5E7D86}" destId="{A13F5EF9-557F-4CE9-A102-D2AED3BE89C5}" srcOrd="2" destOrd="0" presId="urn:microsoft.com/office/officeart/2005/8/layout/process3"/>
    <dgm:cxn modelId="{A979652A-6667-4D4E-BEFE-CCF1A66DA741}" type="presParOf" srcId="{2A135FC8-A18B-4172-9C8B-4CE7ED15646B}" destId="{E30B66FF-D6F2-4483-A57A-DD632D83C458}" srcOrd="3" destOrd="0" presId="urn:microsoft.com/office/officeart/2005/8/layout/process3"/>
    <dgm:cxn modelId="{27C1F4A0-F9BB-4B82-9327-F903D1BABACF}" type="presParOf" srcId="{E30B66FF-D6F2-4483-A57A-DD632D83C458}" destId="{BCDFB37E-E93F-4C1E-9465-A61D01B6B770}" srcOrd="0" destOrd="0" presId="urn:microsoft.com/office/officeart/2005/8/layout/process3"/>
    <dgm:cxn modelId="{276ADBFE-7A44-4953-B4EF-68BDFCCED8E0}" type="presParOf" srcId="{2A135FC8-A18B-4172-9C8B-4CE7ED15646B}" destId="{C873BA60-6C06-4D8A-B1E2-C5A97A0C2135}" srcOrd="4" destOrd="0" presId="urn:microsoft.com/office/officeart/2005/8/layout/process3"/>
    <dgm:cxn modelId="{8515AAD9-CA51-468C-8266-3570849B7B5A}" type="presParOf" srcId="{C873BA60-6C06-4D8A-B1E2-C5A97A0C2135}" destId="{3B431D58-E0E6-4FBC-A6E2-4324E6DF2D17}" srcOrd="0" destOrd="0" presId="urn:microsoft.com/office/officeart/2005/8/layout/process3"/>
    <dgm:cxn modelId="{4B701106-D139-4CC2-816F-8EC0B1E331FB}" type="presParOf" srcId="{C873BA60-6C06-4D8A-B1E2-C5A97A0C2135}" destId="{0EDEBD6F-B588-4812-A6F5-26EF688F447F}" srcOrd="1" destOrd="0" presId="urn:microsoft.com/office/officeart/2005/8/layout/process3"/>
    <dgm:cxn modelId="{0C0E2246-1EA0-425C-83BC-E5D40F18B270}" type="presParOf" srcId="{C873BA60-6C06-4D8A-B1E2-C5A97A0C2135}" destId="{24BEF3FC-F2E7-4209-9385-5B99C50BD6AF}"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3C81D70-6D6C-48C0-97D8-B89E7A1AA370}"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GB"/>
        </a:p>
      </dgm:t>
    </dgm:pt>
    <dgm:pt modelId="{50AD326F-3091-4E05-9FD1-CEA7E6EFC858}">
      <dgm:prSet phldrT="[Text]"/>
      <dgm:spPr/>
      <dgm:t>
        <a:bodyPr/>
        <a:lstStyle/>
        <a:p>
          <a:r>
            <a:rPr lang="en-GB" dirty="0"/>
            <a:t>Social distancing and lockdown </a:t>
          </a:r>
        </a:p>
      </dgm:t>
    </dgm:pt>
    <dgm:pt modelId="{49BC1133-C575-4654-8203-FA3E4F6086A5}" type="parTrans" cxnId="{30EC1CA0-491A-4108-8601-3A621892C339}">
      <dgm:prSet/>
      <dgm:spPr/>
      <dgm:t>
        <a:bodyPr/>
        <a:lstStyle/>
        <a:p>
          <a:endParaRPr lang="en-GB"/>
        </a:p>
      </dgm:t>
    </dgm:pt>
    <dgm:pt modelId="{B11488D7-2F24-4614-BDF0-EDDC5EDFFDED}" type="sibTrans" cxnId="{30EC1CA0-491A-4108-8601-3A621892C339}">
      <dgm:prSet/>
      <dgm:spPr/>
      <dgm:t>
        <a:bodyPr/>
        <a:lstStyle/>
        <a:p>
          <a:endParaRPr lang="en-GB"/>
        </a:p>
      </dgm:t>
    </dgm:pt>
    <dgm:pt modelId="{AD9A2131-CCB4-477D-9BFF-992CD8E61D9C}">
      <dgm:prSet phldrT="[Text]"/>
      <dgm:spPr/>
      <dgm:t>
        <a:bodyPr/>
        <a:lstStyle/>
        <a:p>
          <a:r>
            <a:rPr lang="en-GB" dirty="0"/>
            <a:t>New non remote working scenarios</a:t>
          </a:r>
        </a:p>
      </dgm:t>
    </dgm:pt>
    <dgm:pt modelId="{548E65E5-7B74-48E0-BD2C-EA1D44504EDC}" type="parTrans" cxnId="{BD5268D5-83D7-4231-A085-B9BB66E9B3CE}">
      <dgm:prSet/>
      <dgm:spPr/>
      <dgm:t>
        <a:bodyPr/>
        <a:lstStyle/>
        <a:p>
          <a:endParaRPr lang="en-GB"/>
        </a:p>
      </dgm:t>
    </dgm:pt>
    <dgm:pt modelId="{1915116D-81CB-4A06-BDD1-98373BCC965E}" type="sibTrans" cxnId="{BD5268D5-83D7-4231-A085-B9BB66E9B3CE}">
      <dgm:prSet/>
      <dgm:spPr/>
      <dgm:t>
        <a:bodyPr/>
        <a:lstStyle/>
        <a:p>
          <a:endParaRPr lang="en-GB"/>
        </a:p>
      </dgm:t>
    </dgm:pt>
    <dgm:pt modelId="{289EB500-EE83-449E-A50B-C352A7B3906D}" type="asst">
      <dgm:prSet phldrT="[Text]"/>
      <dgm:spPr/>
      <dgm:t>
        <a:bodyPr/>
        <a:lstStyle/>
        <a:p>
          <a:r>
            <a:rPr lang="en-GB" dirty="0"/>
            <a:t>Smart Working</a:t>
          </a:r>
        </a:p>
      </dgm:t>
    </dgm:pt>
    <dgm:pt modelId="{40AB8859-A739-4B92-AD48-12006EC9A081}" type="sibTrans" cxnId="{E00556E2-48DE-4C59-8BF8-BAC0A17F2A65}">
      <dgm:prSet/>
      <dgm:spPr/>
      <dgm:t>
        <a:bodyPr/>
        <a:lstStyle/>
        <a:p>
          <a:endParaRPr lang="en-GB"/>
        </a:p>
      </dgm:t>
    </dgm:pt>
    <dgm:pt modelId="{E1C5C31C-4B9F-45A8-A0CC-63696AC8322F}" type="parTrans" cxnId="{E00556E2-48DE-4C59-8BF8-BAC0A17F2A65}">
      <dgm:prSet/>
      <dgm:spPr/>
      <dgm:t>
        <a:bodyPr/>
        <a:lstStyle/>
        <a:p>
          <a:endParaRPr lang="en-GB"/>
        </a:p>
      </dgm:t>
    </dgm:pt>
    <dgm:pt modelId="{86FEEE8A-1B5E-4093-863B-E834A0FE351C}" type="asst">
      <dgm:prSet phldrT="[Text]"/>
      <dgm:spPr/>
      <dgm:t>
        <a:bodyPr/>
        <a:lstStyle/>
        <a:p>
          <a:r>
            <a:rPr lang="en-GB" dirty="0"/>
            <a:t>Different forms of smart working</a:t>
          </a:r>
        </a:p>
      </dgm:t>
    </dgm:pt>
    <dgm:pt modelId="{E3F7B4FB-6129-4A1C-AE99-5E8AA6429627}" type="parTrans" cxnId="{4556732F-10FC-4EDE-837B-822635141707}">
      <dgm:prSet/>
      <dgm:spPr/>
      <dgm:t>
        <a:bodyPr/>
        <a:lstStyle/>
        <a:p>
          <a:endParaRPr lang="en-GB"/>
        </a:p>
      </dgm:t>
    </dgm:pt>
    <dgm:pt modelId="{232091CB-67A7-426E-9887-D1B997E85BD9}" type="sibTrans" cxnId="{4556732F-10FC-4EDE-837B-822635141707}">
      <dgm:prSet/>
      <dgm:spPr/>
      <dgm:t>
        <a:bodyPr/>
        <a:lstStyle/>
        <a:p>
          <a:endParaRPr lang="en-GB"/>
        </a:p>
      </dgm:t>
    </dgm:pt>
    <dgm:pt modelId="{0DA4F8B4-5F06-4937-8F82-6BC9B48C0551}" type="pres">
      <dgm:prSet presAssocID="{A3C81D70-6D6C-48C0-97D8-B89E7A1AA370}" presName="diagram" presStyleCnt="0">
        <dgm:presLayoutVars>
          <dgm:chPref val="1"/>
          <dgm:dir/>
          <dgm:animOne val="branch"/>
          <dgm:animLvl val="lvl"/>
          <dgm:resizeHandles val="exact"/>
        </dgm:presLayoutVars>
      </dgm:prSet>
      <dgm:spPr/>
    </dgm:pt>
    <dgm:pt modelId="{E3EB0A7A-AE26-48ED-9CA8-4E43631E63A1}" type="pres">
      <dgm:prSet presAssocID="{50AD326F-3091-4E05-9FD1-CEA7E6EFC858}" presName="root1" presStyleCnt="0"/>
      <dgm:spPr/>
    </dgm:pt>
    <dgm:pt modelId="{47A58C5C-A0E0-4F98-83FB-778026992FA6}" type="pres">
      <dgm:prSet presAssocID="{50AD326F-3091-4E05-9FD1-CEA7E6EFC858}" presName="LevelOneTextNode" presStyleLbl="node0" presStyleIdx="0" presStyleCnt="1">
        <dgm:presLayoutVars>
          <dgm:chPref val="3"/>
        </dgm:presLayoutVars>
      </dgm:prSet>
      <dgm:spPr/>
    </dgm:pt>
    <dgm:pt modelId="{74482CFC-CF85-4594-B1EC-08C10AC3E508}" type="pres">
      <dgm:prSet presAssocID="{50AD326F-3091-4E05-9FD1-CEA7E6EFC858}" presName="level2hierChild" presStyleCnt="0"/>
      <dgm:spPr/>
    </dgm:pt>
    <dgm:pt modelId="{2F4733A3-C5A1-4FF5-943E-96998F582554}" type="pres">
      <dgm:prSet presAssocID="{E1C5C31C-4B9F-45A8-A0CC-63696AC8322F}" presName="conn2-1" presStyleLbl="parChTrans1D2" presStyleIdx="0" presStyleCnt="2"/>
      <dgm:spPr/>
    </dgm:pt>
    <dgm:pt modelId="{0799E7F6-3C6E-465C-8128-E67541DDDD3D}" type="pres">
      <dgm:prSet presAssocID="{E1C5C31C-4B9F-45A8-A0CC-63696AC8322F}" presName="connTx" presStyleLbl="parChTrans1D2" presStyleIdx="0" presStyleCnt="2"/>
      <dgm:spPr/>
    </dgm:pt>
    <dgm:pt modelId="{C3152BD3-975D-4D5D-B45B-5264FC4CDC08}" type="pres">
      <dgm:prSet presAssocID="{289EB500-EE83-449E-A50B-C352A7B3906D}" presName="root2" presStyleCnt="0"/>
      <dgm:spPr/>
    </dgm:pt>
    <dgm:pt modelId="{BAFA7563-55A1-43B3-AB91-C7FB79DCC721}" type="pres">
      <dgm:prSet presAssocID="{289EB500-EE83-449E-A50B-C352A7B3906D}" presName="LevelTwoTextNode" presStyleLbl="asst1" presStyleIdx="0" presStyleCnt="2">
        <dgm:presLayoutVars>
          <dgm:chPref val="3"/>
        </dgm:presLayoutVars>
      </dgm:prSet>
      <dgm:spPr/>
    </dgm:pt>
    <dgm:pt modelId="{1B4E590B-ABDA-4DD2-8E6F-4C4DFA1583A8}" type="pres">
      <dgm:prSet presAssocID="{289EB500-EE83-449E-A50B-C352A7B3906D}" presName="level3hierChild" presStyleCnt="0"/>
      <dgm:spPr/>
    </dgm:pt>
    <dgm:pt modelId="{E3870A40-E0AD-46C2-8447-A355C1CA0015}" type="pres">
      <dgm:prSet presAssocID="{E3F7B4FB-6129-4A1C-AE99-5E8AA6429627}" presName="conn2-1" presStyleLbl="parChTrans1D3" presStyleIdx="0" presStyleCnt="1"/>
      <dgm:spPr/>
    </dgm:pt>
    <dgm:pt modelId="{9B86E7F0-CF77-4B46-A59E-E292747E39D1}" type="pres">
      <dgm:prSet presAssocID="{E3F7B4FB-6129-4A1C-AE99-5E8AA6429627}" presName="connTx" presStyleLbl="parChTrans1D3" presStyleIdx="0" presStyleCnt="1"/>
      <dgm:spPr/>
    </dgm:pt>
    <dgm:pt modelId="{1FB00B55-B81A-4176-A0B0-DFD08D1067AE}" type="pres">
      <dgm:prSet presAssocID="{86FEEE8A-1B5E-4093-863B-E834A0FE351C}" presName="root2" presStyleCnt="0"/>
      <dgm:spPr/>
    </dgm:pt>
    <dgm:pt modelId="{6C573763-D995-46B6-9EAA-8C9240C69B5D}" type="pres">
      <dgm:prSet presAssocID="{86FEEE8A-1B5E-4093-863B-E834A0FE351C}" presName="LevelTwoTextNode" presStyleLbl="asst1" presStyleIdx="1" presStyleCnt="2">
        <dgm:presLayoutVars>
          <dgm:chPref val="3"/>
        </dgm:presLayoutVars>
      </dgm:prSet>
      <dgm:spPr/>
    </dgm:pt>
    <dgm:pt modelId="{DA0D7E6F-808B-4742-B7D9-ED0062889F7D}" type="pres">
      <dgm:prSet presAssocID="{86FEEE8A-1B5E-4093-863B-E834A0FE351C}" presName="level3hierChild" presStyleCnt="0"/>
      <dgm:spPr/>
    </dgm:pt>
    <dgm:pt modelId="{DC15F0A4-FF60-4D36-B341-87742F4F213A}" type="pres">
      <dgm:prSet presAssocID="{548E65E5-7B74-48E0-BD2C-EA1D44504EDC}" presName="conn2-1" presStyleLbl="parChTrans1D2" presStyleIdx="1" presStyleCnt="2"/>
      <dgm:spPr/>
    </dgm:pt>
    <dgm:pt modelId="{7FCEF8ED-5347-4AC5-ABAF-0F9AC260B214}" type="pres">
      <dgm:prSet presAssocID="{548E65E5-7B74-48E0-BD2C-EA1D44504EDC}" presName="connTx" presStyleLbl="parChTrans1D2" presStyleIdx="1" presStyleCnt="2"/>
      <dgm:spPr/>
    </dgm:pt>
    <dgm:pt modelId="{25F953A5-C4FE-44F3-A647-7255BF9710BD}" type="pres">
      <dgm:prSet presAssocID="{AD9A2131-CCB4-477D-9BFF-992CD8E61D9C}" presName="root2" presStyleCnt="0"/>
      <dgm:spPr/>
    </dgm:pt>
    <dgm:pt modelId="{6951CE57-97FC-4794-ABCC-16FF2D73FA69}" type="pres">
      <dgm:prSet presAssocID="{AD9A2131-CCB4-477D-9BFF-992CD8E61D9C}" presName="LevelTwoTextNode" presStyleLbl="node2" presStyleIdx="0" presStyleCnt="1">
        <dgm:presLayoutVars>
          <dgm:chPref val="3"/>
        </dgm:presLayoutVars>
      </dgm:prSet>
      <dgm:spPr/>
    </dgm:pt>
    <dgm:pt modelId="{A49110D1-A2A3-46B1-9CB9-D97EE1A6D991}" type="pres">
      <dgm:prSet presAssocID="{AD9A2131-CCB4-477D-9BFF-992CD8E61D9C}" presName="level3hierChild" presStyleCnt="0"/>
      <dgm:spPr/>
    </dgm:pt>
  </dgm:ptLst>
  <dgm:cxnLst>
    <dgm:cxn modelId="{37819418-E6D9-47E1-9343-04F28DA270B0}" type="presOf" srcId="{AD9A2131-CCB4-477D-9BFF-992CD8E61D9C}" destId="{6951CE57-97FC-4794-ABCC-16FF2D73FA69}" srcOrd="0" destOrd="0" presId="urn:microsoft.com/office/officeart/2005/8/layout/hierarchy2"/>
    <dgm:cxn modelId="{346BD21A-0AFD-4DBF-B741-C33F70458E00}" type="presOf" srcId="{548E65E5-7B74-48E0-BD2C-EA1D44504EDC}" destId="{7FCEF8ED-5347-4AC5-ABAF-0F9AC260B214}" srcOrd="1" destOrd="0" presId="urn:microsoft.com/office/officeart/2005/8/layout/hierarchy2"/>
    <dgm:cxn modelId="{4556732F-10FC-4EDE-837B-822635141707}" srcId="{289EB500-EE83-449E-A50B-C352A7B3906D}" destId="{86FEEE8A-1B5E-4093-863B-E834A0FE351C}" srcOrd="0" destOrd="0" parTransId="{E3F7B4FB-6129-4A1C-AE99-5E8AA6429627}" sibTransId="{232091CB-67A7-426E-9887-D1B997E85BD9}"/>
    <dgm:cxn modelId="{A2B41762-D6A2-4935-91DB-EE877CB618EE}" type="presOf" srcId="{E3F7B4FB-6129-4A1C-AE99-5E8AA6429627}" destId="{9B86E7F0-CF77-4B46-A59E-E292747E39D1}" srcOrd="1" destOrd="0" presId="urn:microsoft.com/office/officeart/2005/8/layout/hierarchy2"/>
    <dgm:cxn modelId="{5108B242-89F8-44C2-AA31-ECB2CA42992E}" type="presOf" srcId="{E3F7B4FB-6129-4A1C-AE99-5E8AA6429627}" destId="{E3870A40-E0AD-46C2-8447-A355C1CA0015}" srcOrd="0" destOrd="0" presId="urn:microsoft.com/office/officeart/2005/8/layout/hierarchy2"/>
    <dgm:cxn modelId="{2807D053-E0C0-43CF-8C90-3D2D351BF0FA}" type="presOf" srcId="{E1C5C31C-4B9F-45A8-A0CC-63696AC8322F}" destId="{0799E7F6-3C6E-465C-8128-E67541DDDD3D}" srcOrd="1" destOrd="0" presId="urn:microsoft.com/office/officeart/2005/8/layout/hierarchy2"/>
    <dgm:cxn modelId="{B22CF288-9D2C-487A-82C4-AB3A80F62DD4}" type="presOf" srcId="{A3C81D70-6D6C-48C0-97D8-B89E7A1AA370}" destId="{0DA4F8B4-5F06-4937-8F82-6BC9B48C0551}" srcOrd="0" destOrd="0" presId="urn:microsoft.com/office/officeart/2005/8/layout/hierarchy2"/>
    <dgm:cxn modelId="{30EC1CA0-491A-4108-8601-3A621892C339}" srcId="{A3C81D70-6D6C-48C0-97D8-B89E7A1AA370}" destId="{50AD326F-3091-4E05-9FD1-CEA7E6EFC858}" srcOrd="0" destOrd="0" parTransId="{49BC1133-C575-4654-8203-FA3E4F6086A5}" sibTransId="{B11488D7-2F24-4614-BDF0-EDDC5EDFFDED}"/>
    <dgm:cxn modelId="{940334B9-8D5D-46E0-B66C-D8D999571BA3}" type="presOf" srcId="{50AD326F-3091-4E05-9FD1-CEA7E6EFC858}" destId="{47A58C5C-A0E0-4F98-83FB-778026992FA6}" srcOrd="0" destOrd="0" presId="urn:microsoft.com/office/officeart/2005/8/layout/hierarchy2"/>
    <dgm:cxn modelId="{6276E4BF-2C10-4985-B986-63451C8B7262}" type="presOf" srcId="{E1C5C31C-4B9F-45A8-A0CC-63696AC8322F}" destId="{2F4733A3-C5A1-4FF5-943E-96998F582554}" srcOrd="0" destOrd="0" presId="urn:microsoft.com/office/officeart/2005/8/layout/hierarchy2"/>
    <dgm:cxn modelId="{05D96FC4-6774-4070-AD1F-CB85677E5158}" type="presOf" srcId="{86FEEE8A-1B5E-4093-863B-E834A0FE351C}" destId="{6C573763-D995-46B6-9EAA-8C9240C69B5D}" srcOrd="0" destOrd="0" presId="urn:microsoft.com/office/officeart/2005/8/layout/hierarchy2"/>
    <dgm:cxn modelId="{BD5268D5-83D7-4231-A085-B9BB66E9B3CE}" srcId="{50AD326F-3091-4E05-9FD1-CEA7E6EFC858}" destId="{AD9A2131-CCB4-477D-9BFF-992CD8E61D9C}" srcOrd="1" destOrd="0" parTransId="{548E65E5-7B74-48E0-BD2C-EA1D44504EDC}" sibTransId="{1915116D-81CB-4A06-BDD1-98373BCC965E}"/>
    <dgm:cxn modelId="{D0FA53DD-B064-484E-962D-BBD0C8680F8B}" type="presOf" srcId="{548E65E5-7B74-48E0-BD2C-EA1D44504EDC}" destId="{DC15F0A4-FF60-4D36-B341-87742F4F213A}" srcOrd="0" destOrd="0" presId="urn:microsoft.com/office/officeart/2005/8/layout/hierarchy2"/>
    <dgm:cxn modelId="{62419ADD-0E62-4EF9-8D2C-2BA115DC88BA}" type="presOf" srcId="{289EB500-EE83-449E-A50B-C352A7B3906D}" destId="{BAFA7563-55A1-43B3-AB91-C7FB79DCC721}" srcOrd="0" destOrd="0" presId="urn:microsoft.com/office/officeart/2005/8/layout/hierarchy2"/>
    <dgm:cxn modelId="{E00556E2-48DE-4C59-8BF8-BAC0A17F2A65}" srcId="{50AD326F-3091-4E05-9FD1-CEA7E6EFC858}" destId="{289EB500-EE83-449E-A50B-C352A7B3906D}" srcOrd="0" destOrd="0" parTransId="{E1C5C31C-4B9F-45A8-A0CC-63696AC8322F}" sibTransId="{40AB8859-A739-4B92-AD48-12006EC9A081}"/>
    <dgm:cxn modelId="{0F07F81E-70BE-4AEE-BAA9-9F9BFCF0A3D2}" type="presParOf" srcId="{0DA4F8B4-5F06-4937-8F82-6BC9B48C0551}" destId="{E3EB0A7A-AE26-48ED-9CA8-4E43631E63A1}" srcOrd="0" destOrd="0" presId="urn:microsoft.com/office/officeart/2005/8/layout/hierarchy2"/>
    <dgm:cxn modelId="{1D2DBA39-D317-4FF9-AB86-C161EA487CEB}" type="presParOf" srcId="{E3EB0A7A-AE26-48ED-9CA8-4E43631E63A1}" destId="{47A58C5C-A0E0-4F98-83FB-778026992FA6}" srcOrd="0" destOrd="0" presId="urn:microsoft.com/office/officeart/2005/8/layout/hierarchy2"/>
    <dgm:cxn modelId="{326D4F9A-6B8A-43EE-9C29-0713CC05CB96}" type="presParOf" srcId="{E3EB0A7A-AE26-48ED-9CA8-4E43631E63A1}" destId="{74482CFC-CF85-4594-B1EC-08C10AC3E508}" srcOrd="1" destOrd="0" presId="urn:microsoft.com/office/officeart/2005/8/layout/hierarchy2"/>
    <dgm:cxn modelId="{CC2F2EF2-FD9C-4792-B0E0-280FC2702D0B}" type="presParOf" srcId="{74482CFC-CF85-4594-B1EC-08C10AC3E508}" destId="{2F4733A3-C5A1-4FF5-943E-96998F582554}" srcOrd="0" destOrd="0" presId="urn:microsoft.com/office/officeart/2005/8/layout/hierarchy2"/>
    <dgm:cxn modelId="{212C3BC3-9DC1-472F-92E8-0AABC4E2FE24}" type="presParOf" srcId="{2F4733A3-C5A1-4FF5-943E-96998F582554}" destId="{0799E7F6-3C6E-465C-8128-E67541DDDD3D}" srcOrd="0" destOrd="0" presId="urn:microsoft.com/office/officeart/2005/8/layout/hierarchy2"/>
    <dgm:cxn modelId="{FFC0E63A-2C49-4C0B-8C19-6C09BA50152B}" type="presParOf" srcId="{74482CFC-CF85-4594-B1EC-08C10AC3E508}" destId="{C3152BD3-975D-4D5D-B45B-5264FC4CDC08}" srcOrd="1" destOrd="0" presId="urn:microsoft.com/office/officeart/2005/8/layout/hierarchy2"/>
    <dgm:cxn modelId="{7457753C-72B0-496A-AF08-0CED2C744739}" type="presParOf" srcId="{C3152BD3-975D-4D5D-B45B-5264FC4CDC08}" destId="{BAFA7563-55A1-43B3-AB91-C7FB79DCC721}" srcOrd="0" destOrd="0" presId="urn:microsoft.com/office/officeart/2005/8/layout/hierarchy2"/>
    <dgm:cxn modelId="{62702821-159E-4CB4-A38C-B8B66DD4F55F}" type="presParOf" srcId="{C3152BD3-975D-4D5D-B45B-5264FC4CDC08}" destId="{1B4E590B-ABDA-4DD2-8E6F-4C4DFA1583A8}" srcOrd="1" destOrd="0" presId="urn:microsoft.com/office/officeart/2005/8/layout/hierarchy2"/>
    <dgm:cxn modelId="{CD4E48B6-B43E-4758-BD0C-C5FDA854C14F}" type="presParOf" srcId="{1B4E590B-ABDA-4DD2-8E6F-4C4DFA1583A8}" destId="{E3870A40-E0AD-46C2-8447-A355C1CA0015}" srcOrd="0" destOrd="0" presId="urn:microsoft.com/office/officeart/2005/8/layout/hierarchy2"/>
    <dgm:cxn modelId="{BF97B919-252D-4163-AB29-9CF9DC46159D}" type="presParOf" srcId="{E3870A40-E0AD-46C2-8447-A355C1CA0015}" destId="{9B86E7F0-CF77-4B46-A59E-E292747E39D1}" srcOrd="0" destOrd="0" presId="urn:microsoft.com/office/officeart/2005/8/layout/hierarchy2"/>
    <dgm:cxn modelId="{04B3171C-548D-4B8F-9007-39A3FAE11278}" type="presParOf" srcId="{1B4E590B-ABDA-4DD2-8E6F-4C4DFA1583A8}" destId="{1FB00B55-B81A-4176-A0B0-DFD08D1067AE}" srcOrd="1" destOrd="0" presId="urn:microsoft.com/office/officeart/2005/8/layout/hierarchy2"/>
    <dgm:cxn modelId="{9D4C8F66-FF86-49FF-B9B9-DD519D7B045A}" type="presParOf" srcId="{1FB00B55-B81A-4176-A0B0-DFD08D1067AE}" destId="{6C573763-D995-46B6-9EAA-8C9240C69B5D}" srcOrd="0" destOrd="0" presId="urn:microsoft.com/office/officeart/2005/8/layout/hierarchy2"/>
    <dgm:cxn modelId="{AB56DE1B-B227-4CBC-A7E8-E9D017EF4B8A}" type="presParOf" srcId="{1FB00B55-B81A-4176-A0B0-DFD08D1067AE}" destId="{DA0D7E6F-808B-4742-B7D9-ED0062889F7D}" srcOrd="1" destOrd="0" presId="urn:microsoft.com/office/officeart/2005/8/layout/hierarchy2"/>
    <dgm:cxn modelId="{7278ED1D-2AE0-4C99-8E9A-76E8546515A7}" type="presParOf" srcId="{74482CFC-CF85-4594-B1EC-08C10AC3E508}" destId="{DC15F0A4-FF60-4D36-B341-87742F4F213A}" srcOrd="2" destOrd="0" presId="urn:microsoft.com/office/officeart/2005/8/layout/hierarchy2"/>
    <dgm:cxn modelId="{A3511469-3959-49DF-B2CB-1E4F0498B1F1}" type="presParOf" srcId="{DC15F0A4-FF60-4D36-B341-87742F4F213A}" destId="{7FCEF8ED-5347-4AC5-ABAF-0F9AC260B214}" srcOrd="0" destOrd="0" presId="urn:microsoft.com/office/officeart/2005/8/layout/hierarchy2"/>
    <dgm:cxn modelId="{73F87DC0-A64F-4B0A-B789-238DE3FFEAEA}" type="presParOf" srcId="{74482CFC-CF85-4594-B1EC-08C10AC3E508}" destId="{25F953A5-C4FE-44F3-A647-7255BF9710BD}" srcOrd="3" destOrd="0" presId="urn:microsoft.com/office/officeart/2005/8/layout/hierarchy2"/>
    <dgm:cxn modelId="{388B150C-7CF4-49C1-9DC8-45853F95C3DD}" type="presParOf" srcId="{25F953A5-C4FE-44F3-A647-7255BF9710BD}" destId="{6951CE57-97FC-4794-ABCC-16FF2D73FA69}" srcOrd="0" destOrd="0" presId="urn:microsoft.com/office/officeart/2005/8/layout/hierarchy2"/>
    <dgm:cxn modelId="{0612ECFD-219F-49E4-9626-4C324CDE3C31}" type="presParOf" srcId="{25F953A5-C4FE-44F3-A647-7255BF9710BD}" destId="{A49110D1-A2A3-46B1-9CB9-D97EE1A6D991}" srcOrd="1" destOrd="0" presId="urn:microsoft.com/office/officeart/2005/8/layout/hierarchy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AEB52F-AA64-40C6-8CF3-FBFC935F36C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AE0DF7E8-6075-4523-836E-102ABEE19366}">
      <dgm:prSet phldrT="[Text]"/>
      <dgm:spPr/>
      <dgm:t>
        <a:bodyPr/>
        <a:lstStyle/>
        <a:p>
          <a:r>
            <a:rPr lang="en-GB" dirty="0"/>
            <a:t>Identify</a:t>
          </a:r>
        </a:p>
      </dgm:t>
    </dgm:pt>
    <dgm:pt modelId="{2857199B-3F67-4D74-9FC7-7BF5D200F334}" type="parTrans" cxnId="{F87151AC-1F96-4DAC-8FDE-6A99DEDDB861}">
      <dgm:prSet/>
      <dgm:spPr/>
      <dgm:t>
        <a:bodyPr/>
        <a:lstStyle/>
        <a:p>
          <a:endParaRPr lang="en-GB"/>
        </a:p>
      </dgm:t>
    </dgm:pt>
    <dgm:pt modelId="{5AD8BFBD-BB3E-4D42-90E2-D6ACEE213646}" type="sibTrans" cxnId="{F87151AC-1F96-4DAC-8FDE-6A99DEDDB861}">
      <dgm:prSet/>
      <dgm:spPr/>
      <dgm:t>
        <a:bodyPr/>
        <a:lstStyle/>
        <a:p>
          <a:endParaRPr lang="en-GB"/>
        </a:p>
      </dgm:t>
    </dgm:pt>
    <dgm:pt modelId="{3D5EFD7C-65D1-47D0-BE72-3B25F07BEA06}">
      <dgm:prSet phldrT="[Text]"/>
      <dgm:spPr/>
      <dgm:t>
        <a:bodyPr/>
        <a:lstStyle/>
        <a:p>
          <a:r>
            <a:rPr lang="en-GB" dirty="0"/>
            <a:t>Active surveillance and identifying the infected</a:t>
          </a:r>
        </a:p>
      </dgm:t>
    </dgm:pt>
    <dgm:pt modelId="{F94AA5C8-1757-4849-AD99-0CF913DBF90C}" type="parTrans" cxnId="{54C85B1A-D8C8-41B1-8978-CEDCCE8FAD46}">
      <dgm:prSet/>
      <dgm:spPr/>
      <dgm:t>
        <a:bodyPr/>
        <a:lstStyle/>
        <a:p>
          <a:endParaRPr lang="en-GB"/>
        </a:p>
      </dgm:t>
    </dgm:pt>
    <dgm:pt modelId="{1A33E672-0378-4F25-A739-34F00DAF988D}" type="sibTrans" cxnId="{54C85B1A-D8C8-41B1-8978-CEDCCE8FAD46}">
      <dgm:prSet/>
      <dgm:spPr/>
      <dgm:t>
        <a:bodyPr/>
        <a:lstStyle/>
        <a:p>
          <a:endParaRPr lang="en-GB"/>
        </a:p>
      </dgm:t>
    </dgm:pt>
    <dgm:pt modelId="{B02DF5CA-3CB9-4918-BAC9-B0E7357FCE82}">
      <dgm:prSet phldrT="[Text]"/>
      <dgm:spPr/>
      <dgm:t>
        <a:bodyPr/>
        <a:lstStyle/>
        <a:p>
          <a:r>
            <a:rPr lang="en-GB" dirty="0"/>
            <a:t>Isolate</a:t>
          </a:r>
        </a:p>
      </dgm:t>
    </dgm:pt>
    <dgm:pt modelId="{7E469B69-6A7C-4009-8F1B-6311ED2FBEBF}" type="parTrans" cxnId="{A1821277-20B6-41AF-9839-421AA42BD4F0}">
      <dgm:prSet/>
      <dgm:spPr/>
      <dgm:t>
        <a:bodyPr/>
        <a:lstStyle/>
        <a:p>
          <a:endParaRPr lang="en-GB"/>
        </a:p>
      </dgm:t>
    </dgm:pt>
    <dgm:pt modelId="{DBF9BCCC-237C-48D1-AA5A-121A3843FDA9}" type="sibTrans" cxnId="{A1821277-20B6-41AF-9839-421AA42BD4F0}">
      <dgm:prSet/>
      <dgm:spPr/>
      <dgm:t>
        <a:bodyPr/>
        <a:lstStyle/>
        <a:p>
          <a:endParaRPr lang="en-GB"/>
        </a:p>
      </dgm:t>
    </dgm:pt>
    <dgm:pt modelId="{2F5AE5AA-3E11-4FD8-90E7-78109CDD7C8F}">
      <dgm:prSet phldrT="[Text]"/>
      <dgm:spPr/>
      <dgm:t>
        <a:bodyPr/>
        <a:lstStyle/>
        <a:p>
          <a:r>
            <a:rPr lang="en-GB" dirty="0"/>
            <a:t>Isolate the infected from others</a:t>
          </a:r>
        </a:p>
      </dgm:t>
    </dgm:pt>
    <dgm:pt modelId="{BF4E2C89-59AB-48D6-BDC0-789A534C151C}" type="parTrans" cxnId="{04A08FE7-A2FD-41AD-AA83-504FE6045759}">
      <dgm:prSet/>
      <dgm:spPr/>
      <dgm:t>
        <a:bodyPr/>
        <a:lstStyle/>
        <a:p>
          <a:endParaRPr lang="en-GB"/>
        </a:p>
      </dgm:t>
    </dgm:pt>
    <dgm:pt modelId="{36CA03F2-1514-4D13-B25F-7014EEA1E62B}" type="sibTrans" cxnId="{04A08FE7-A2FD-41AD-AA83-504FE6045759}">
      <dgm:prSet/>
      <dgm:spPr/>
      <dgm:t>
        <a:bodyPr/>
        <a:lstStyle/>
        <a:p>
          <a:endParaRPr lang="en-GB"/>
        </a:p>
      </dgm:t>
    </dgm:pt>
    <dgm:pt modelId="{F83EBDED-2E56-41B9-9F22-322F673D674D}">
      <dgm:prSet phldrT="[Text]"/>
      <dgm:spPr/>
      <dgm:t>
        <a:bodyPr/>
        <a:lstStyle/>
        <a:p>
          <a:r>
            <a:rPr lang="en-GB" dirty="0"/>
            <a:t>Quarantine</a:t>
          </a:r>
        </a:p>
      </dgm:t>
    </dgm:pt>
    <dgm:pt modelId="{D87546EA-76CA-4CD9-BFDB-7AE0B1EEA375}" type="parTrans" cxnId="{AFAABB4A-D541-4C6A-B5E8-1E8EAE6E1D12}">
      <dgm:prSet/>
      <dgm:spPr/>
      <dgm:t>
        <a:bodyPr/>
        <a:lstStyle/>
        <a:p>
          <a:endParaRPr lang="en-GB"/>
        </a:p>
      </dgm:t>
    </dgm:pt>
    <dgm:pt modelId="{B3106F35-4E1E-4155-9098-8F20DAE781BD}" type="sibTrans" cxnId="{AFAABB4A-D541-4C6A-B5E8-1E8EAE6E1D12}">
      <dgm:prSet/>
      <dgm:spPr/>
      <dgm:t>
        <a:bodyPr/>
        <a:lstStyle/>
        <a:p>
          <a:endParaRPr lang="en-GB"/>
        </a:p>
      </dgm:t>
    </dgm:pt>
    <dgm:pt modelId="{9426AFAD-C0A7-47A2-AC27-B80562DB16EE}">
      <dgm:prSet phldrT="[Text]"/>
      <dgm:spPr/>
      <dgm:t>
        <a:bodyPr/>
        <a:lstStyle/>
        <a:p>
          <a:r>
            <a:rPr lang="en-GB" dirty="0"/>
            <a:t>Partial and complete lockdown</a:t>
          </a:r>
        </a:p>
      </dgm:t>
    </dgm:pt>
    <dgm:pt modelId="{9C5D0597-112C-4750-9E9C-8CC649EA85A9}" type="parTrans" cxnId="{C064E2BA-E9BD-41FD-B459-681F3719F338}">
      <dgm:prSet/>
      <dgm:spPr/>
      <dgm:t>
        <a:bodyPr/>
        <a:lstStyle/>
        <a:p>
          <a:endParaRPr lang="en-GB"/>
        </a:p>
      </dgm:t>
    </dgm:pt>
    <dgm:pt modelId="{DBB774E3-9764-491B-9D0F-D307B02DA103}" type="sibTrans" cxnId="{C064E2BA-E9BD-41FD-B459-681F3719F338}">
      <dgm:prSet/>
      <dgm:spPr/>
      <dgm:t>
        <a:bodyPr/>
        <a:lstStyle/>
        <a:p>
          <a:endParaRPr lang="en-GB"/>
        </a:p>
      </dgm:t>
    </dgm:pt>
    <dgm:pt modelId="{2A135FC8-A18B-4172-9C8B-4CE7ED15646B}" type="pres">
      <dgm:prSet presAssocID="{10AEB52F-AA64-40C6-8CF3-FBFC935F36CD}" presName="linearFlow" presStyleCnt="0">
        <dgm:presLayoutVars>
          <dgm:dir/>
          <dgm:animLvl val="lvl"/>
          <dgm:resizeHandles val="exact"/>
        </dgm:presLayoutVars>
      </dgm:prSet>
      <dgm:spPr/>
    </dgm:pt>
    <dgm:pt modelId="{66A4A4C7-C699-44ED-96E5-4D3E10980895}" type="pres">
      <dgm:prSet presAssocID="{AE0DF7E8-6075-4523-836E-102ABEE19366}" presName="composite" presStyleCnt="0"/>
      <dgm:spPr/>
    </dgm:pt>
    <dgm:pt modelId="{DA030BDF-FCC3-4E6A-B8F0-C24C6DC0402A}" type="pres">
      <dgm:prSet presAssocID="{AE0DF7E8-6075-4523-836E-102ABEE19366}" presName="parTx" presStyleLbl="node1" presStyleIdx="0" presStyleCnt="3">
        <dgm:presLayoutVars>
          <dgm:chMax val="0"/>
          <dgm:chPref val="0"/>
          <dgm:bulletEnabled val="1"/>
        </dgm:presLayoutVars>
      </dgm:prSet>
      <dgm:spPr/>
    </dgm:pt>
    <dgm:pt modelId="{A33157B2-A005-442A-82C4-D7BB9F4B9FAA}" type="pres">
      <dgm:prSet presAssocID="{AE0DF7E8-6075-4523-836E-102ABEE19366}" presName="parSh" presStyleLbl="node1" presStyleIdx="0" presStyleCnt="3"/>
      <dgm:spPr/>
    </dgm:pt>
    <dgm:pt modelId="{3E04414B-E546-445C-9302-4DFD44F51DCB}" type="pres">
      <dgm:prSet presAssocID="{AE0DF7E8-6075-4523-836E-102ABEE19366}" presName="desTx" presStyleLbl="fgAcc1" presStyleIdx="0" presStyleCnt="3">
        <dgm:presLayoutVars>
          <dgm:bulletEnabled val="1"/>
        </dgm:presLayoutVars>
      </dgm:prSet>
      <dgm:spPr/>
    </dgm:pt>
    <dgm:pt modelId="{7B364501-6B61-4124-8975-C49BAD11259C}" type="pres">
      <dgm:prSet presAssocID="{5AD8BFBD-BB3E-4D42-90E2-D6ACEE213646}" presName="sibTrans" presStyleLbl="sibTrans2D1" presStyleIdx="0" presStyleCnt="2"/>
      <dgm:spPr/>
    </dgm:pt>
    <dgm:pt modelId="{AEB89B64-36F5-4C1A-96E4-44710E112F6A}" type="pres">
      <dgm:prSet presAssocID="{5AD8BFBD-BB3E-4D42-90E2-D6ACEE213646}" presName="connTx" presStyleLbl="sibTrans2D1" presStyleIdx="0" presStyleCnt="2"/>
      <dgm:spPr/>
    </dgm:pt>
    <dgm:pt modelId="{FC1ADEBD-72CC-49C5-8234-1313FE5E7D86}" type="pres">
      <dgm:prSet presAssocID="{B02DF5CA-3CB9-4918-BAC9-B0E7357FCE82}" presName="composite" presStyleCnt="0"/>
      <dgm:spPr/>
    </dgm:pt>
    <dgm:pt modelId="{BDF7F702-5D89-496C-8422-11E1E94EA2B3}" type="pres">
      <dgm:prSet presAssocID="{B02DF5CA-3CB9-4918-BAC9-B0E7357FCE82}" presName="parTx" presStyleLbl="node1" presStyleIdx="0" presStyleCnt="3">
        <dgm:presLayoutVars>
          <dgm:chMax val="0"/>
          <dgm:chPref val="0"/>
          <dgm:bulletEnabled val="1"/>
        </dgm:presLayoutVars>
      </dgm:prSet>
      <dgm:spPr/>
    </dgm:pt>
    <dgm:pt modelId="{131E5D29-3150-4400-BE31-42025CD714E1}" type="pres">
      <dgm:prSet presAssocID="{B02DF5CA-3CB9-4918-BAC9-B0E7357FCE82}" presName="parSh" presStyleLbl="node1" presStyleIdx="1" presStyleCnt="3"/>
      <dgm:spPr/>
    </dgm:pt>
    <dgm:pt modelId="{A13F5EF9-557F-4CE9-A102-D2AED3BE89C5}" type="pres">
      <dgm:prSet presAssocID="{B02DF5CA-3CB9-4918-BAC9-B0E7357FCE82}" presName="desTx" presStyleLbl="fgAcc1" presStyleIdx="1" presStyleCnt="3">
        <dgm:presLayoutVars>
          <dgm:bulletEnabled val="1"/>
        </dgm:presLayoutVars>
      </dgm:prSet>
      <dgm:spPr/>
    </dgm:pt>
    <dgm:pt modelId="{E30B66FF-D6F2-4483-A57A-DD632D83C458}" type="pres">
      <dgm:prSet presAssocID="{DBF9BCCC-237C-48D1-AA5A-121A3843FDA9}" presName="sibTrans" presStyleLbl="sibTrans2D1" presStyleIdx="1" presStyleCnt="2"/>
      <dgm:spPr/>
    </dgm:pt>
    <dgm:pt modelId="{BCDFB37E-E93F-4C1E-9465-A61D01B6B770}" type="pres">
      <dgm:prSet presAssocID="{DBF9BCCC-237C-48D1-AA5A-121A3843FDA9}" presName="connTx" presStyleLbl="sibTrans2D1" presStyleIdx="1" presStyleCnt="2"/>
      <dgm:spPr/>
    </dgm:pt>
    <dgm:pt modelId="{C873BA60-6C06-4D8A-B1E2-C5A97A0C2135}" type="pres">
      <dgm:prSet presAssocID="{F83EBDED-2E56-41B9-9F22-322F673D674D}" presName="composite" presStyleCnt="0"/>
      <dgm:spPr/>
    </dgm:pt>
    <dgm:pt modelId="{3B431D58-E0E6-4FBC-A6E2-4324E6DF2D17}" type="pres">
      <dgm:prSet presAssocID="{F83EBDED-2E56-41B9-9F22-322F673D674D}" presName="parTx" presStyleLbl="node1" presStyleIdx="1" presStyleCnt="3">
        <dgm:presLayoutVars>
          <dgm:chMax val="0"/>
          <dgm:chPref val="0"/>
          <dgm:bulletEnabled val="1"/>
        </dgm:presLayoutVars>
      </dgm:prSet>
      <dgm:spPr/>
    </dgm:pt>
    <dgm:pt modelId="{0EDEBD6F-B588-4812-A6F5-26EF688F447F}" type="pres">
      <dgm:prSet presAssocID="{F83EBDED-2E56-41B9-9F22-322F673D674D}" presName="parSh" presStyleLbl="node1" presStyleIdx="2" presStyleCnt="3"/>
      <dgm:spPr/>
    </dgm:pt>
    <dgm:pt modelId="{24BEF3FC-F2E7-4209-9385-5B99C50BD6AF}" type="pres">
      <dgm:prSet presAssocID="{F83EBDED-2E56-41B9-9F22-322F673D674D}" presName="desTx" presStyleLbl="fgAcc1" presStyleIdx="2" presStyleCnt="3">
        <dgm:presLayoutVars>
          <dgm:bulletEnabled val="1"/>
        </dgm:presLayoutVars>
      </dgm:prSet>
      <dgm:spPr/>
    </dgm:pt>
  </dgm:ptLst>
  <dgm:cxnLst>
    <dgm:cxn modelId="{1C7A9A12-27C0-407D-8DF5-E8B3705E729A}" type="presOf" srcId="{5AD8BFBD-BB3E-4D42-90E2-D6ACEE213646}" destId="{7B364501-6B61-4124-8975-C49BAD11259C}" srcOrd="0" destOrd="0" presId="urn:microsoft.com/office/officeart/2005/8/layout/process3"/>
    <dgm:cxn modelId="{54C85B1A-D8C8-41B1-8978-CEDCCE8FAD46}" srcId="{AE0DF7E8-6075-4523-836E-102ABEE19366}" destId="{3D5EFD7C-65D1-47D0-BE72-3B25F07BEA06}" srcOrd="0" destOrd="0" parTransId="{F94AA5C8-1757-4849-AD99-0CF913DBF90C}" sibTransId="{1A33E672-0378-4F25-A739-34F00DAF988D}"/>
    <dgm:cxn modelId="{02ABD31C-D757-4437-821F-CD719842A523}" type="presOf" srcId="{9426AFAD-C0A7-47A2-AC27-B80562DB16EE}" destId="{24BEF3FC-F2E7-4209-9385-5B99C50BD6AF}" srcOrd="0" destOrd="0" presId="urn:microsoft.com/office/officeart/2005/8/layout/process3"/>
    <dgm:cxn modelId="{CE7A3960-DD38-4B71-9FDE-8D34D639A305}" type="presOf" srcId="{DBF9BCCC-237C-48D1-AA5A-121A3843FDA9}" destId="{E30B66FF-D6F2-4483-A57A-DD632D83C458}" srcOrd="0" destOrd="0" presId="urn:microsoft.com/office/officeart/2005/8/layout/process3"/>
    <dgm:cxn modelId="{DC8AED47-1FAA-4074-A034-9D41E09B336D}" type="presOf" srcId="{F83EBDED-2E56-41B9-9F22-322F673D674D}" destId="{0EDEBD6F-B588-4812-A6F5-26EF688F447F}" srcOrd="1" destOrd="0" presId="urn:microsoft.com/office/officeart/2005/8/layout/process3"/>
    <dgm:cxn modelId="{AFAABB4A-D541-4C6A-B5E8-1E8EAE6E1D12}" srcId="{10AEB52F-AA64-40C6-8CF3-FBFC935F36CD}" destId="{F83EBDED-2E56-41B9-9F22-322F673D674D}" srcOrd="2" destOrd="0" parTransId="{D87546EA-76CA-4CD9-BFDB-7AE0B1EEA375}" sibTransId="{B3106F35-4E1E-4155-9098-8F20DAE781BD}"/>
    <dgm:cxn modelId="{A1821277-20B6-41AF-9839-421AA42BD4F0}" srcId="{10AEB52F-AA64-40C6-8CF3-FBFC935F36CD}" destId="{B02DF5CA-3CB9-4918-BAC9-B0E7357FCE82}" srcOrd="1" destOrd="0" parTransId="{7E469B69-6A7C-4009-8F1B-6311ED2FBEBF}" sibTransId="{DBF9BCCC-237C-48D1-AA5A-121A3843FDA9}"/>
    <dgm:cxn modelId="{5F005286-7DC5-46B1-B4AB-4DD26E75F9D8}" type="presOf" srcId="{2F5AE5AA-3E11-4FD8-90E7-78109CDD7C8F}" destId="{A13F5EF9-557F-4CE9-A102-D2AED3BE89C5}" srcOrd="0" destOrd="0" presId="urn:microsoft.com/office/officeart/2005/8/layout/process3"/>
    <dgm:cxn modelId="{6FC2B0A2-32B2-414E-AA78-EE76EC93E706}" type="presOf" srcId="{5AD8BFBD-BB3E-4D42-90E2-D6ACEE213646}" destId="{AEB89B64-36F5-4C1A-96E4-44710E112F6A}" srcOrd="1" destOrd="0" presId="urn:microsoft.com/office/officeart/2005/8/layout/process3"/>
    <dgm:cxn modelId="{11B0C5AA-708D-4F24-9F9D-16FF0D308291}" type="presOf" srcId="{AE0DF7E8-6075-4523-836E-102ABEE19366}" destId="{DA030BDF-FCC3-4E6A-B8F0-C24C6DC0402A}" srcOrd="0" destOrd="0" presId="urn:microsoft.com/office/officeart/2005/8/layout/process3"/>
    <dgm:cxn modelId="{F87151AC-1F96-4DAC-8FDE-6A99DEDDB861}" srcId="{10AEB52F-AA64-40C6-8CF3-FBFC935F36CD}" destId="{AE0DF7E8-6075-4523-836E-102ABEE19366}" srcOrd="0" destOrd="0" parTransId="{2857199B-3F67-4D74-9FC7-7BF5D200F334}" sibTransId="{5AD8BFBD-BB3E-4D42-90E2-D6ACEE213646}"/>
    <dgm:cxn modelId="{8023BEB1-F2AC-498A-B487-03DCDB60A2AC}" type="presOf" srcId="{B02DF5CA-3CB9-4918-BAC9-B0E7357FCE82}" destId="{131E5D29-3150-4400-BE31-42025CD714E1}" srcOrd="1" destOrd="0" presId="urn:microsoft.com/office/officeart/2005/8/layout/process3"/>
    <dgm:cxn modelId="{133A24B8-C366-4006-A539-526097CC8D00}" type="presOf" srcId="{F83EBDED-2E56-41B9-9F22-322F673D674D}" destId="{3B431D58-E0E6-4FBC-A6E2-4324E6DF2D17}" srcOrd="0" destOrd="0" presId="urn:microsoft.com/office/officeart/2005/8/layout/process3"/>
    <dgm:cxn modelId="{C064E2BA-E9BD-41FD-B459-681F3719F338}" srcId="{F83EBDED-2E56-41B9-9F22-322F673D674D}" destId="{9426AFAD-C0A7-47A2-AC27-B80562DB16EE}" srcOrd="0" destOrd="0" parTransId="{9C5D0597-112C-4750-9E9C-8CC649EA85A9}" sibTransId="{DBB774E3-9764-491B-9D0F-D307B02DA103}"/>
    <dgm:cxn modelId="{553E77C2-4117-4FB1-967D-E430F31E420E}" type="presOf" srcId="{10AEB52F-AA64-40C6-8CF3-FBFC935F36CD}" destId="{2A135FC8-A18B-4172-9C8B-4CE7ED15646B}" srcOrd="0" destOrd="0" presId="urn:microsoft.com/office/officeart/2005/8/layout/process3"/>
    <dgm:cxn modelId="{C2428CE4-E879-479B-BACD-5C1A5B9B1C30}" type="presOf" srcId="{3D5EFD7C-65D1-47D0-BE72-3B25F07BEA06}" destId="{3E04414B-E546-445C-9302-4DFD44F51DCB}" srcOrd="0" destOrd="0" presId="urn:microsoft.com/office/officeart/2005/8/layout/process3"/>
    <dgm:cxn modelId="{66EFB8E5-45D6-4C38-93CC-49FF6AC50D22}" type="presOf" srcId="{AE0DF7E8-6075-4523-836E-102ABEE19366}" destId="{A33157B2-A005-442A-82C4-D7BB9F4B9FAA}" srcOrd="1" destOrd="0" presId="urn:microsoft.com/office/officeart/2005/8/layout/process3"/>
    <dgm:cxn modelId="{F9C252E7-430E-49A9-BF01-26EB4360354D}" type="presOf" srcId="{B02DF5CA-3CB9-4918-BAC9-B0E7357FCE82}" destId="{BDF7F702-5D89-496C-8422-11E1E94EA2B3}" srcOrd="0" destOrd="0" presId="urn:microsoft.com/office/officeart/2005/8/layout/process3"/>
    <dgm:cxn modelId="{04A08FE7-A2FD-41AD-AA83-504FE6045759}" srcId="{B02DF5CA-3CB9-4918-BAC9-B0E7357FCE82}" destId="{2F5AE5AA-3E11-4FD8-90E7-78109CDD7C8F}" srcOrd="0" destOrd="0" parTransId="{BF4E2C89-59AB-48D6-BDC0-789A534C151C}" sibTransId="{36CA03F2-1514-4D13-B25F-7014EEA1E62B}"/>
    <dgm:cxn modelId="{5716A3FE-9DBA-4554-94CB-D7295F53D1D6}" type="presOf" srcId="{DBF9BCCC-237C-48D1-AA5A-121A3843FDA9}" destId="{BCDFB37E-E93F-4C1E-9465-A61D01B6B770}" srcOrd="1" destOrd="0" presId="urn:microsoft.com/office/officeart/2005/8/layout/process3"/>
    <dgm:cxn modelId="{13A250D4-3BCD-4E8A-B7D9-7AC4BF6A2185}" type="presParOf" srcId="{2A135FC8-A18B-4172-9C8B-4CE7ED15646B}" destId="{66A4A4C7-C699-44ED-96E5-4D3E10980895}" srcOrd="0" destOrd="0" presId="urn:microsoft.com/office/officeart/2005/8/layout/process3"/>
    <dgm:cxn modelId="{28152212-83C4-49C0-8070-D8A92EA77826}" type="presParOf" srcId="{66A4A4C7-C699-44ED-96E5-4D3E10980895}" destId="{DA030BDF-FCC3-4E6A-B8F0-C24C6DC0402A}" srcOrd="0" destOrd="0" presId="urn:microsoft.com/office/officeart/2005/8/layout/process3"/>
    <dgm:cxn modelId="{B50CCF47-F5C9-45BC-9B37-84677BF657BB}" type="presParOf" srcId="{66A4A4C7-C699-44ED-96E5-4D3E10980895}" destId="{A33157B2-A005-442A-82C4-D7BB9F4B9FAA}" srcOrd="1" destOrd="0" presId="urn:microsoft.com/office/officeart/2005/8/layout/process3"/>
    <dgm:cxn modelId="{0CEFC3EA-473F-4158-B20F-74622735645A}" type="presParOf" srcId="{66A4A4C7-C699-44ED-96E5-4D3E10980895}" destId="{3E04414B-E546-445C-9302-4DFD44F51DCB}" srcOrd="2" destOrd="0" presId="urn:microsoft.com/office/officeart/2005/8/layout/process3"/>
    <dgm:cxn modelId="{A7F8D33D-2127-4AB7-84A5-BAF7DBF87807}" type="presParOf" srcId="{2A135FC8-A18B-4172-9C8B-4CE7ED15646B}" destId="{7B364501-6B61-4124-8975-C49BAD11259C}" srcOrd="1" destOrd="0" presId="urn:microsoft.com/office/officeart/2005/8/layout/process3"/>
    <dgm:cxn modelId="{BDACF801-969A-4CB5-BE90-5114A8EC5DD4}" type="presParOf" srcId="{7B364501-6B61-4124-8975-C49BAD11259C}" destId="{AEB89B64-36F5-4C1A-96E4-44710E112F6A}" srcOrd="0" destOrd="0" presId="urn:microsoft.com/office/officeart/2005/8/layout/process3"/>
    <dgm:cxn modelId="{677DC99F-C91B-4A3A-843F-79F20338B77D}" type="presParOf" srcId="{2A135FC8-A18B-4172-9C8B-4CE7ED15646B}" destId="{FC1ADEBD-72CC-49C5-8234-1313FE5E7D86}" srcOrd="2" destOrd="0" presId="urn:microsoft.com/office/officeart/2005/8/layout/process3"/>
    <dgm:cxn modelId="{7DAB2469-7924-4C57-8DFC-E8F1FF682E01}" type="presParOf" srcId="{FC1ADEBD-72CC-49C5-8234-1313FE5E7D86}" destId="{BDF7F702-5D89-496C-8422-11E1E94EA2B3}" srcOrd="0" destOrd="0" presId="urn:microsoft.com/office/officeart/2005/8/layout/process3"/>
    <dgm:cxn modelId="{3327278F-2648-40E5-BB80-E0C695CBF6E4}" type="presParOf" srcId="{FC1ADEBD-72CC-49C5-8234-1313FE5E7D86}" destId="{131E5D29-3150-4400-BE31-42025CD714E1}" srcOrd="1" destOrd="0" presId="urn:microsoft.com/office/officeart/2005/8/layout/process3"/>
    <dgm:cxn modelId="{F86832BB-E551-4F6E-B09B-C6A33A1E9FA2}" type="presParOf" srcId="{FC1ADEBD-72CC-49C5-8234-1313FE5E7D86}" destId="{A13F5EF9-557F-4CE9-A102-D2AED3BE89C5}" srcOrd="2" destOrd="0" presId="urn:microsoft.com/office/officeart/2005/8/layout/process3"/>
    <dgm:cxn modelId="{A979652A-6667-4D4E-BEFE-CCF1A66DA741}" type="presParOf" srcId="{2A135FC8-A18B-4172-9C8B-4CE7ED15646B}" destId="{E30B66FF-D6F2-4483-A57A-DD632D83C458}" srcOrd="3" destOrd="0" presId="urn:microsoft.com/office/officeart/2005/8/layout/process3"/>
    <dgm:cxn modelId="{27C1F4A0-F9BB-4B82-9327-F903D1BABACF}" type="presParOf" srcId="{E30B66FF-D6F2-4483-A57A-DD632D83C458}" destId="{BCDFB37E-E93F-4C1E-9465-A61D01B6B770}" srcOrd="0" destOrd="0" presId="urn:microsoft.com/office/officeart/2005/8/layout/process3"/>
    <dgm:cxn modelId="{276ADBFE-7A44-4953-B4EF-68BDFCCED8E0}" type="presParOf" srcId="{2A135FC8-A18B-4172-9C8B-4CE7ED15646B}" destId="{C873BA60-6C06-4D8A-B1E2-C5A97A0C2135}" srcOrd="4" destOrd="0" presId="urn:microsoft.com/office/officeart/2005/8/layout/process3"/>
    <dgm:cxn modelId="{8515AAD9-CA51-468C-8266-3570849B7B5A}" type="presParOf" srcId="{C873BA60-6C06-4D8A-B1E2-C5A97A0C2135}" destId="{3B431D58-E0E6-4FBC-A6E2-4324E6DF2D17}" srcOrd="0" destOrd="0" presId="urn:microsoft.com/office/officeart/2005/8/layout/process3"/>
    <dgm:cxn modelId="{4B701106-D139-4CC2-816F-8EC0B1E331FB}" type="presParOf" srcId="{C873BA60-6C06-4D8A-B1E2-C5A97A0C2135}" destId="{0EDEBD6F-B588-4812-A6F5-26EF688F447F}" srcOrd="1" destOrd="0" presId="urn:microsoft.com/office/officeart/2005/8/layout/process3"/>
    <dgm:cxn modelId="{0C0E2246-1EA0-425C-83BC-E5D40F18B270}" type="presParOf" srcId="{C873BA60-6C06-4D8A-B1E2-C5A97A0C2135}" destId="{24BEF3FC-F2E7-4209-9385-5B99C50BD6AF}"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3C81D70-6D6C-48C0-97D8-B89E7A1AA370}"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GB"/>
        </a:p>
      </dgm:t>
    </dgm:pt>
    <dgm:pt modelId="{50AD326F-3091-4E05-9FD1-CEA7E6EFC858}">
      <dgm:prSet phldrT="[Text]"/>
      <dgm:spPr/>
      <dgm:t>
        <a:bodyPr/>
        <a:lstStyle/>
        <a:p>
          <a:r>
            <a:rPr lang="en-GB" dirty="0"/>
            <a:t>Social distancing and lockdown </a:t>
          </a:r>
        </a:p>
      </dgm:t>
    </dgm:pt>
    <dgm:pt modelId="{49BC1133-C575-4654-8203-FA3E4F6086A5}" type="parTrans" cxnId="{30EC1CA0-491A-4108-8601-3A621892C339}">
      <dgm:prSet/>
      <dgm:spPr/>
      <dgm:t>
        <a:bodyPr/>
        <a:lstStyle/>
        <a:p>
          <a:endParaRPr lang="en-GB"/>
        </a:p>
      </dgm:t>
    </dgm:pt>
    <dgm:pt modelId="{B11488D7-2F24-4614-BDF0-EDDC5EDFFDED}" type="sibTrans" cxnId="{30EC1CA0-491A-4108-8601-3A621892C339}">
      <dgm:prSet/>
      <dgm:spPr/>
      <dgm:t>
        <a:bodyPr/>
        <a:lstStyle/>
        <a:p>
          <a:endParaRPr lang="en-GB"/>
        </a:p>
      </dgm:t>
    </dgm:pt>
    <dgm:pt modelId="{AD9A2131-CCB4-477D-9BFF-992CD8E61D9C}">
      <dgm:prSet phldrT="[Text]"/>
      <dgm:spPr/>
      <dgm:t>
        <a:bodyPr/>
        <a:lstStyle/>
        <a:p>
          <a:r>
            <a:rPr lang="en-GB" dirty="0"/>
            <a:t>Elderly and people in need remote assistance and care</a:t>
          </a:r>
        </a:p>
      </dgm:t>
    </dgm:pt>
    <dgm:pt modelId="{548E65E5-7B74-48E0-BD2C-EA1D44504EDC}" type="parTrans" cxnId="{BD5268D5-83D7-4231-A085-B9BB66E9B3CE}">
      <dgm:prSet/>
      <dgm:spPr/>
      <dgm:t>
        <a:bodyPr/>
        <a:lstStyle/>
        <a:p>
          <a:endParaRPr lang="en-GB"/>
        </a:p>
      </dgm:t>
    </dgm:pt>
    <dgm:pt modelId="{1915116D-81CB-4A06-BDD1-98373BCC965E}" type="sibTrans" cxnId="{BD5268D5-83D7-4231-A085-B9BB66E9B3CE}">
      <dgm:prSet/>
      <dgm:spPr/>
      <dgm:t>
        <a:bodyPr/>
        <a:lstStyle/>
        <a:p>
          <a:endParaRPr lang="en-GB"/>
        </a:p>
      </dgm:t>
    </dgm:pt>
    <dgm:pt modelId="{289EB500-EE83-449E-A50B-C352A7B3906D}" type="asst">
      <dgm:prSet phldrT="[Text]"/>
      <dgm:spPr/>
      <dgm:t>
        <a:bodyPr/>
        <a:lstStyle/>
        <a:p>
          <a:r>
            <a:rPr lang="en-GB" dirty="0"/>
            <a:t>Remote activities (smart working, home schooling, food deliveries, entertainment)</a:t>
          </a:r>
        </a:p>
      </dgm:t>
    </dgm:pt>
    <dgm:pt modelId="{40AB8859-A739-4B92-AD48-12006EC9A081}" type="sibTrans" cxnId="{E00556E2-48DE-4C59-8BF8-BAC0A17F2A65}">
      <dgm:prSet/>
      <dgm:spPr/>
      <dgm:t>
        <a:bodyPr/>
        <a:lstStyle/>
        <a:p>
          <a:endParaRPr lang="en-GB"/>
        </a:p>
      </dgm:t>
    </dgm:pt>
    <dgm:pt modelId="{E1C5C31C-4B9F-45A8-A0CC-63696AC8322F}" type="parTrans" cxnId="{E00556E2-48DE-4C59-8BF8-BAC0A17F2A65}">
      <dgm:prSet/>
      <dgm:spPr/>
      <dgm:t>
        <a:bodyPr/>
        <a:lstStyle/>
        <a:p>
          <a:endParaRPr lang="en-GB"/>
        </a:p>
      </dgm:t>
    </dgm:pt>
    <dgm:pt modelId="{86FEEE8A-1B5E-4093-863B-E834A0FE351C}" type="asst">
      <dgm:prSet phldrT="[Text]"/>
      <dgm:spPr/>
      <dgm:t>
        <a:bodyPr/>
        <a:lstStyle/>
        <a:p>
          <a:r>
            <a:rPr lang="en-GB" dirty="0"/>
            <a:t>Decreasing levels of pollutants</a:t>
          </a:r>
        </a:p>
      </dgm:t>
    </dgm:pt>
    <dgm:pt modelId="{E3F7B4FB-6129-4A1C-AE99-5E8AA6429627}" type="parTrans" cxnId="{4556732F-10FC-4EDE-837B-822635141707}">
      <dgm:prSet/>
      <dgm:spPr/>
      <dgm:t>
        <a:bodyPr/>
        <a:lstStyle/>
        <a:p>
          <a:endParaRPr lang="en-GB"/>
        </a:p>
      </dgm:t>
    </dgm:pt>
    <dgm:pt modelId="{232091CB-67A7-426E-9887-D1B997E85BD9}" type="sibTrans" cxnId="{4556732F-10FC-4EDE-837B-822635141707}">
      <dgm:prSet/>
      <dgm:spPr/>
      <dgm:t>
        <a:bodyPr/>
        <a:lstStyle/>
        <a:p>
          <a:endParaRPr lang="en-GB"/>
        </a:p>
      </dgm:t>
    </dgm:pt>
    <dgm:pt modelId="{0DA4F8B4-5F06-4937-8F82-6BC9B48C0551}" type="pres">
      <dgm:prSet presAssocID="{A3C81D70-6D6C-48C0-97D8-B89E7A1AA370}" presName="diagram" presStyleCnt="0">
        <dgm:presLayoutVars>
          <dgm:chPref val="1"/>
          <dgm:dir/>
          <dgm:animOne val="branch"/>
          <dgm:animLvl val="lvl"/>
          <dgm:resizeHandles val="exact"/>
        </dgm:presLayoutVars>
      </dgm:prSet>
      <dgm:spPr/>
    </dgm:pt>
    <dgm:pt modelId="{E3EB0A7A-AE26-48ED-9CA8-4E43631E63A1}" type="pres">
      <dgm:prSet presAssocID="{50AD326F-3091-4E05-9FD1-CEA7E6EFC858}" presName="root1" presStyleCnt="0"/>
      <dgm:spPr/>
    </dgm:pt>
    <dgm:pt modelId="{47A58C5C-A0E0-4F98-83FB-778026992FA6}" type="pres">
      <dgm:prSet presAssocID="{50AD326F-3091-4E05-9FD1-CEA7E6EFC858}" presName="LevelOneTextNode" presStyleLbl="node0" presStyleIdx="0" presStyleCnt="1">
        <dgm:presLayoutVars>
          <dgm:chPref val="3"/>
        </dgm:presLayoutVars>
      </dgm:prSet>
      <dgm:spPr/>
    </dgm:pt>
    <dgm:pt modelId="{74482CFC-CF85-4594-B1EC-08C10AC3E508}" type="pres">
      <dgm:prSet presAssocID="{50AD326F-3091-4E05-9FD1-CEA7E6EFC858}" presName="level2hierChild" presStyleCnt="0"/>
      <dgm:spPr/>
    </dgm:pt>
    <dgm:pt modelId="{2F4733A3-C5A1-4FF5-943E-96998F582554}" type="pres">
      <dgm:prSet presAssocID="{E1C5C31C-4B9F-45A8-A0CC-63696AC8322F}" presName="conn2-1" presStyleLbl="parChTrans1D2" presStyleIdx="0" presStyleCnt="3"/>
      <dgm:spPr/>
    </dgm:pt>
    <dgm:pt modelId="{0799E7F6-3C6E-465C-8128-E67541DDDD3D}" type="pres">
      <dgm:prSet presAssocID="{E1C5C31C-4B9F-45A8-A0CC-63696AC8322F}" presName="connTx" presStyleLbl="parChTrans1D2" presStyleIdx="0" presStyleCnt="3"/>
      <dgm:spPr/>
    </dgm:pt>
    <dgm:pt modelId="{C3152BD3-975D-4D5D-B45B-5264FC4CDC08}" type="pres">
      <dgm:prSet presAssocID="{289EB500-EE83-449E-A50B-C352A7B3906D}" presName="root2" presStyleCnt="0"/>
      <dgm:spPr/>
    </dgm:pt>
    <dgm:pt modelId="{BAFA7563-55A1-43B3-AB91-C7FB79DCC721}" type="pres">
      <dgm:prSet presAssocID="{289EB500-EE83-449E-A50B-C352A7B3906D}" presName="LevelTwoTextNode" presStyleLbl="asst1" presStyleIdx="0" presStyleCnt="2">
        <dgm:presLayoutVars>
          <dgm:chPref val="3"/>
        </dgm:presLayoutVars>
      </dgm:prSet>
      <dgm:spPr/>
    </dgm:pt>
    <dgm:pt modelId="{1B4E590B-ABDA-4DD2-8E6F-4C4DFA1583A8}" type="pres">
      <dgm:prSet presAssocID="{289EB500-EE83-449E-A50B-C352A7B3906D}" presName="level3hierChild" presStyleCnt="0"/>
      <dgm:spPr/>
    </dgm:pt>
    <dgm:pt modelId="{F61F5FBF-9AEC-4873-954A-6323C89215F9}" type="pres">
      <dgm:prSet presAssocID="{E3F7B4FB-6129-4A1C-AE99-5E8AA6429627}" presName="conn2-1" presStyleLbl="parChTrans1D2" presStyleIdx="1" presStyleCnt="3"/>
      <dgm:spPr/>
    </dgm:pt>
    <dgm:pt modelId="{8E1CD838-D809-41D8-97AC-D66D4D43FD2C}" type="pres">
      <dgm:prSet presAssocID="{E3F7B4FB-6129-4A1C-AE99-5E8AA6429627}" presName="connTx" presStyleLbl="parChTrans1D2" presStyleIdx="1" presStyleCnt="3"/>
      <dgm:spPr/>
    </dgm:pt>
    <dgm:pt modelId="{1B2C9C9B-10E2-4833-A02F-F312C2A5F2A4}" type="pres">
      <dgm:prSet presAssocID="{86FEEE8A-1B5E-4093-863B-E834A0FE351C}" presName="root2" presStyleCnt="0"/>
      <dgm:spPr/>
    </dgm:pt>
    <dgm:pt modelId="{57489D06-E1C4-40BB-AAF3-495EE9030F31}" type="pres">
      <dgm:prSet presAssocID="{86FEEE8A-1B5E-4093-863B-E834A0FE351C}" presName="LevelTwoTextNode" presStyleLbl="asst1" presStyleIdx="1" presStyleCnt="2" custLinFactNeighborX="-1060" custLinFactNeighborY="1023">
        <dgm:presLayoutVars>
          <dgm:chPref val="3"/>
        </dgm:presLayoutVars>
      </dgm:prSet>
      <dgm:spPr/>
    </dgm:pt>
    <dgm:pt modelId="{DACE778B-0E0C-4604-8115-D6E9BB4C3708}" type="pres">
      <dgm:prSet presAssocID="{86FEEE8A-1B5E-4093-863B-E834A0FE351C}" presName="level3hierChild" presStyleCnt="0"/>
      <dgm:spPr/>
    </dgm:pt>
    <dgm:pt modelId="{DC15F0A4-FF60-4D36-B341-87742F4F213A}" type="pres">
      <dgm:prSet presAssocID="{548E65E5-7B74-48E0-BD2C-EA1D44504EDC}" presName="conn2-1" presStyleLbl="parChTrans1D2" presStyleIdx="2" presStyleCnt="3"/>
      <dgm:spPr/>
    </dgm:pt>
    <dgm:pt modelId="{7FCEF8ED-5347-4AC5-ABAF-0F9AC260B214}" type="pres">
      <dgm:prSet presAssocID="{548E65E5-7B74-48E0-BD2C-EA1D44504EDC}" presName="connTx" presStyleLbl="parChTrans1D2" presStyleIdx="2" presStyleCnt="3"/>
      <dgm:spPr/>
    </dgm:pt>
    <dgm:pt modelId="{25F953A5-C4FE-44F3-A647-7255BF9710BD}" type="pres">
      <dgm:prSet presAssocID="{AD9A2131-CCB4-477D-9BFF-992CD8E61D9C}" presName="root2" presStyleCnt="0"/>
      <dgm:spPr/>
    </dgm:pt>
    <dgm:pt modelId="{6951CE57-97FC-4794-ABCC-16FF2D73FA69}" type="pres">
      <dgm:prSet presAssocID="{AD9A2131-CCB4-477D-9BFF-992CD8E61D9C}" presName="LevelTwoTextNode" presStyleLbl="node2" presStyleIdx="0" presStyleCnt="1">
        <dgm:presLayoutVars>
          <dgm:chPref val="3"/>
        </dgm:presLayoutVars>
      </dgm:prSet>
      <dgm:spPr/>
    </dgm:pt>
    <dgm:pt modelId="{A49110D1-A2A3-46B1-9CB9-D97EE1A6D991}" type="pres">
      <dgm:prSet presAssocID="{AD9A2131-CCB4-477D-9BFF-992CD8E61D9C}" presName="level3hierChild" presStyleCnt="0"/>
      <dgm:spPr/>
    </dgm:pt>
  </dgm:ptLst>
  <dgm:cxnLst>
    <dgm:cxn modelId="{4556732F-10FC-4EDE-837B-822635141707}" srcId="{50AD326F-3091-4E05-9FD1-CEA7E6EFC858}" destId="{86FEEE8A-1B5E-4093-863B-E834A0FE351C}" srcOrd="1" destOrd="0" parTransId="{E3F7B4FB-6129-4A1C-AE99-5E8AA6429627}" sibTransId="{232091CB-67A7-426E-9887-D1B997E85BD9}"/>
    <dgm:cxn modelId="{1198514A-C389-443F-9FD2-2B7721DFC447}" type="presOf" srcId="{AD9A2131-CCB4-477D-9BFF-992CD8E61D9C}" destId="{6951CE57-97FC-4794-ABCC-16FF2D73FA69}" srcOrd="0" destOrd="0" presId="urn:microsoft.com/office/officeart/2005/8/layout/hierarchy2"/>
    <dgm:cxn modelId="{2807D053-E0C0-43CF-8C90-3D2D351BF0FA}" type="presOf" srcId="{E1C5C31C-4B9F-45A8-A0CC-63696AC8322F}" destId="{0799E7F6-3C6E-465C-8128-E67541DDDD3D}" srcOrd="1" destOrd="0" presId="urn:microsoft.com/office/officeart/2005/8/layout/hierarchy2"/>
    <dgm:cxn modelId="{B22CF288-9D2C-487A-82C4-AB3A80F62DD4}" type="presOf" srcId="{A3C81D70-6D6C-48C0-97D8-B89E7A1AA370}" destId="{0DA4F8B4-5F06-4937-8F82-6BC9B48C0551}" srcOrd="0" destOrd="0" presId="urn:microsoft.com/office/officeart/2005/8/layout/hierarchy2"/>
    <dgm:cxn modelId="{BD75499A-1284-4C99-89FA-72FE60ED85E6}" type="presOf" srcId="{E3F7B4FB-6129-4A1C-AE99-5E8AA6429627}" destId="{8E1CD838-D809-41D8-97AC-D66D4D43FD2C}" srcOrd="1" destOrd="0" presId="urn:microsoft.com/office/officeart/2005/8/layout/hierarchy2"/>
    <dgm:cxn modelId="{30EC1CA0-491A-4108-8601-3A621892C339}" srcId="{A3C81D70-6D6C-48C0-97D8-B89E7A1AA370}" destId="{50AD326F-3091-4E05-9FD1-CEA7E6EFC858}" srcOrd="0" destOrd="0" parTransId="{49BC1133-C575-4654-8203-FA3E4F6086A5}" sibTransId="{B11488D7-2F24-4614-BDF0-EDDC5EDFFDED}"/>
    <dgm:cxn modelId="{3BE96EA6-DB9C-4FC8-B6CC-A37A474A153B}" type="presOf" srcId="{548E65E5-7B74-48E0-BD2C-EA1D44504EDC}" destId="{DC15F0A4-FF60-4D36-B341-87742F4F213A}" srcOrd="0" destOrd="0" presId="urn:microsoft.com/office/officeart/2005/8/layout/hierarchy2"/>
    <dgm:cxn modelId="{940334B9-8D5D-46E0-B66C-D8D999571BA3}" type="presOf" srcId="{50AD326F-3091-4E05-9FD1-CEA7E6EFC858}" destId="{47A58C5C-A0E0-4F98-83FB-778026992FA6}" srcOrd="0" destOrd="0" presId="urn:microsoft.com/office/officeart/2005/8/layout/hierarchy2"/>
    <dgm:cxn modelId="{6276E4BF-2C10-4985-B986-63451C8B7262}" type="presOf" srcId="{E1C5C31C-4B9F-45A8-A0CC-63696AC8322F}" destId="{2F4733A3-C5A1-4FF5-943E-96998F582554}" srcOrd="0" destOrd="0" presId="urn:microsoft.com/office/officeart/2005/8/layout/hierarchy2"/>
    <dgm:cxn modelId="{947A99C2-30C0-4FF0-AF0C-CF54B949DE27}" type="presOf" srcId="{E3F7B4FB-6129-4A1C-AE99-5E8AA6429627}" destId="{F61F5FBF-9AEC-4873-954A-6323C89215F9}" srcOrd="0" destOrd="0" presId="urn:microsoft.com/office/officeart/2005/8/layout/hierarchy2"/>
    <dgm:cxn modelId="{BD5268D5-83D7-4231-A085-B9BB66E9B3CE}" srcId="{50AD326F-3091-4E05-9FD1-CEA7E6EFC858}" destId="{AD9A2131-CCB4-477D-9BFF-992CD8E61D9C}" srcOrd="2" destOrd="0" parTransId="{548E65E5-7B74-48E0-BD2C-EA1D44504EDC}" sibTransId="{1915116D-81CB-4A06-BDD1-98373BCC965E}"/>
    <dgm:cxn modelId="{62419ADD-0E62-4EF9-8D2C-2BA115DC88BA}" type="presOf" srcId="{289EB500-EE83-449E-A50B-C352A7B3906D}" destId="{BAFA7563-55A1-43B3-AB91-C7FB79DCC721}" srcOrd="0" destOrd="0" presId="urn:microsoft.com/office/officeart/2005/8/layout/hierarchy2"/>
    <dgm:cxn modelId="{3A0E85E0-D51C-4DC3-B3FB-F2EC333DF3F3}" type="presOf" srcId="{548E65E5-7B74-48E0-BD2C-EA1D44504EDC}" destId="{7FCEF8ED-5347-4AC5-ABAF-0F9AC260B214}" srcOrd="1" destOrd="0" presId="urn:microsoft.com/office/officeart/2005/8/layout/hierarchy2"/>
    <dgm:cxn modelId="{E00556E2-48DE-4C59-8BF8-BAC0A17F2A65}" srcId="{50AD326F-3091-4E05-9FD1-CEA7E6EFC858}" destId="{289EB500-EE83-449E-A50B-C352A7B3906D}" srcOrd="0" destOrd="0" parTransId="{E1C5C31C-4B9F-45A8-A0CC-63696AC8322F}" sibTransId="{40AB8859-A739-4B92-AD48-12006EC9A081}"/>
    <dgm:cxn modelId="{34B411F7-64E1-4C8E-9326-2BE3CDE20636}" type="presOf" srcId="{86FEEE8A-1B5E-4093-863B-E834A0FE351C}" destId="{57489D06-E1C4-40BB-AAF3-495EE9030F31}" srcOrd="0" destOrd="0" presId="urn:microsoft.com/office/officeart/2005/8/layout/hierarchy2"/>
    <dgm:cxn modelId="{0F07F81E-70BE-4AEE-BAA9-9F9BFCF0A3D2}" type="presParOf" srcId="{0DA4F8B4-5F06-4937-8F82-6BC9B48C0551}" destId="{E3EB0A7A-AE26-48ED-9CA8-4E43631E63A1}" srcOrd="0" destOrd="0" presId="urn:microsoft.com/office/officeart/2005/8/layout/hierarchy2"/>
    <dgm:cxn modelId="{1D2DBA39-D317-4FF9-AB86-C161EA487CEB}" type="presParOf" srcId="{E3EB0A7A-AE26-48ED-9CA8-4E43631E63A1}" destId="{47A58C5C-A0E0-4F98-83FB-778026992FA6}" srcOrd="0" destOrd="0" presId="urn:microsoft.com/office/officeart/2005/8/layout/hierarchy2"/>
    <dgm:cxn modelId="{326D4F9A-6B8A-43EE-9C29-0713CC05CB96}" type="presParOf" srcId="{E3EB0A7A-AE26-48ED-9CA8-4E43631E63A1}" destId="{74482CFC-CF85-4594-B1EC-08C10AC3E508}" srcOrd="1" destOrd="0" presId="urn:microsoft.com/office/officeart/2005/8/layout/hierarchy2"/>
    <dgm:cxn modelId="{CC2F2EF2-FD9C-4792-B0E0-280FC2702D0B}" type="presParOf" srcId="{74482CFC-CF85-4594-B1EC-08C10AC3E508}" destId="{2F4733A3-C5A1-4FF5-943E-96998F582554}" srcOrd="0" destOrd="0" presId="urn:microsoft.com/office/officeart/2005/8/layout/hierarchy2"/>
    <dgm:cxn modelId="{212C3BC3-9DC1-472F-92E8-0AABC4E2FE24}" type="presParOf" srcId="{2F4733A3-C5A1-4FF5-943E-96998F582554}" destId="{0799E7F6-3C6E-465C-8128-E67541DDDD3D}" srcOrd="0" destOrd="0" presId="urn:microsoft.com/office/officeart/2005/8/layout/hierarchy2"/>
    <dgm:cxn modelId="{FFC0E63A-2C49-4C0B-8C19-6C09BA50152B}" type="presParOf" srcId="{74482CFC-CF85-4594-B1EC-08C10AC3E508}" destId="{C3152BD3-975D-4D5D-B45B-5264FC4CDC08}" srcOrd="1" destOrd="0" presId="urn:microsoft.com/office/officeart/2005/8/layout/hierarchy2"/>
    <dgm:cxn modelId="{7457753C-72B0-496A-AF08-0CED2C744739}" type="presParOf" srcId="{C3152BD3-975D-4D5D-B45B-5264FC4CDC08}" destId="{BAFA7563-55A1-43B3-AB91-C7FB79DCC721}" srcOrd="0" destOrd="0" presId="urn:microsoft.com/office/officeart/2005/8/layout/hierarchy2"/>
    <dgm:cxn modelId="{62702821-159E-4CB4-A38C-B8B66DD4F55F}" type="presParOf" srcId="{C3152BD3-975D-4D5D-B45B-5264FC4CDC08}" destId="{1B4E590B-ABDA-4DD2-8E6F-4C4DFA1583A8}" srcOrd="1" destOrd="0" presId="urn:microsoft.com/office/officeart/2005/8/layout/hierarchy2"/>
    <dgm:cxn modelId="{AA54991D-FCA3-4668-BDB6-40D664AF289F}" type="presParOf" srcId="{74482CFC-CF85-4594-B1EC-08C10AC3E508}" destId="{F61F5FBF-9AEC-4873-954A-6323C89215F9}" srcOrd="2" destOrd="0" presId="urn:microsoft.com/office/officeart/2005/8/layout/hierarchy2"/>
    <dgm:cxn modelId="{0AB36E85-179A-4963-9AFD-9042990D5C01}" type="presParOf" srcId="{F61F5FBF-9AEC-4873-954A-6323C89215F9}" destId="{8E1CD838-D809-41D8-97AC-D66D4D43FD2C}" srcOrd="0" destOrd="0" presId="urn:microsoft.com/office/officeart/2005/8/layout/hierarchy2"/>
    <dgm:cxn modelId="{3EB968F6-027D-4897-A97B-39680BC44DA4}" type="presParOf" srcId="{74482CFC-CF85-4594-B1EC-08C10AC3E508}" destId="{1B2C9C9B-10E2-4833-A02F-F312C2A5F2A4}" srcOrd="3" destOrd="0" presId="urn:microsoft.com/office/officeart/2005/8/layout/hierarchy2"/>
    <dgm:cxn modelId="{EC0E5536-D5A2-461E-AA51-71936A4CAA6D}" type="presParOf" srcId="{1B2C9C9B-10E2-4833-A02F-F312C2A5F2A4}" destId="{57489D06-E1C4-40BB-AAF3-495EE9030F31}" srcOrd="0" destOrd="0" presId="urn:microsoft.com/office/officeart/2005/8/layout/hierarchy2"/>
    <dgm:cxn modelId="{C85671A5-6AB2-4A4F-BCE4-8DDE71D49AC0}" type="presParOf" srcId="{1B2C9C9B-10E2-4833-A02F-F312C2A5F2A4}" destId="{DACE778B-0E0C-4604-8115-D6E9BB4C3708}" srcOrd="1" destOrd="0" presId="urn:microsoft.com/office/officeart/2005/8/layout/hierarchy2"/>
    <dgm:cxn modelId="{B86CD828-B14E-4279-952E-995A160706F9}" type="presParOf" srcId="{74482CFC-CF85-4594-B1EC-08C10AC3E508}" destId="{DC15F0A4-FF60-4D36-B341-87742F4F213A}" srcOrd="4" destOrd="0" presId="urn:microsoft.com/office/officeart/2005/8/layout/hierarchy2"/>
    <dgm:cxn modelId="{39D0FD7C-3CFA-4F0E-ADAA-41BDB64D176F}" type="presParOf" srcId="{DC15F0A4-FF60-4D36-B341-87742F4F213A}" destId="{7FCEF8ED-5347-4AC5-ABAF-0F9AC260B214}" srcOrd="0" destOrd="0" presId="urn:microsoft.com/office/officeart/2005/8/layout/hierarchy2"/>
    <dgm:cxn modelId="{C755CD97-E7ED-4BEE-9326-D9A0FEF830BE}" type="presParOf" srcId="{74482CFC-CF85-4594-B1EC-08C10AC3E508}" destId="{25F953A5-C4FE-44F3-A647-7255BF9710BD}" srcOrd="5" destOrd="0" presId="urn:microsoft.com/office/officeart/2005/8/layout/hierarchy2"/>
    <dgm:cxn modelId="{8E204852-9730-4C64-8F0E-04149692C1F7}" type="presParOf" srcId="{25F953A5-C4FE-44F3-A647-7255BF9710BD}" destId="{6951CE57-97FC-4794-ABCC-16FF2D73FA69}" srcOrd="0" destOrd="0" presId="urn:microsoft.com/office/officeart/2005/8/layout/hierarchy2"/>
    <dgm:cxn modelId="{FA9C1EFC-9CAD-4B9C-A330-83AD3CA17A55}" type="presParOf" srcId="{25F953A5-C4FE-44F3-A647-7255BF9710BD}" destId="{A49110D1-A2A3-46B1-9CB9-D97EE1A6D991}" srcOrd="1" destOrd="0" presId="urn:microsoft.com/office/officeart/2005/8/layout/hierarchy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815E948-65BF-4825-B343-8F6D5E287D9B}"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GB"/>
        </a:p>
      </dgm:t>
    </dgm:pt>
    <dgm:pt modelId="{E247AEA6-DA90-4001-A46D-435BE6547637}">
      <dgm:prSet phldrT="[Text]"/>
      <dgm:spPr/>
      <dgm:t>
        <a:bodyPr/>
        <a:lstStyle/>
        <a:p>
          <a:r>
            <a:rPr lang="en-GB" dirty="0"/>
            <a:t>Smart Working is the opportunity to accelerate digital transformation in organisations supporting them in living phase 2 and beyond</a:t>
          </a:r>
        </a:p>
      </dgm:t>
    </dgm:pt>
    <dgm:pt modelId="{08E62714-48D6-4C01-8D82-9AFC62737684}" type="parTrans" cxnId="{BCF56045-AE0F-434D-9E25-55E2E58DD51F}">
      <dgm:prSet/>
      <dgm:spPr/>
      <dgm:t>
        <a:bodyPr/>
        <a:lstStyle/>
        <a:p>
          <a:endParaRPr lang="en-GB"/>
        </a:p>
      </dgm:t>
    </dgm:pt>
    <dgm:pt modelId="{2DDFCD99-49F2-41B2-A086-21D1FCE74C9D}" type="sibTrans" cxnId="{BCF56045-AE0F-434D-9E25-55E2E58DD51F}">
      <dgm:prSet/>
      <dgm:spPr/>
      <dgm:t>
        <a:bodyPr/>
        <a:lstStyle/>
        <a:p>
          <a:endParaRPr lang="en-GB"/>
        </a:p>
      </dgm:t>
    </dgm:pt>
    <dgm:pt modelId="{0642AEEA-6D24-4ABF-A413-8B1B849756B7}">
      <dgm:prSet phldrT="[Text]"/>
      <dgm:spPr/>
      <dgm:t>
        <a:bodyPr/>
        <a:lstStyle/>
        <a:p>
          <a:r>
            <a:rPr lang="en-GB" dirty="0"/>
            <a:t>The opportunity of running remotely routinized and creative working tasks</a:t>
          </a:r>
        </a:p>
      </dgm:t>
    </dgm:pt>
    <dgm:pt modelId="{8AA00BD6-5152-43B5-880F-937D0F3A84B5}" type="parTrans" cxnId="{4610131A-7AEC-4489-9E84-FE3734807AD7}">
      <dgm:prSet/>
      <dgm:spPr/>
      <dgm:t>
        <a:bodyPr/>
        <a:lstStyle/>
        <a:p>
          <a:endParaRPr lang="en-GB"/>
        </a:p>
      </dgm:t>
    </dgm:pt>
    <dgm:pt modelId="{722D814E-A20F-431E-9207-C360A8822689}" type="sibTrans" cxnId="{4610131A-7AEC-4489-9E84-FE3734807AD7}">
      <dgm:prSet/>
      <dgm:spPr/>
      <dgm:t>
        <a:bodyPr/>
        <a:lstStyle/>
        <a:p>
          <a:endParaRPr lang="en-GB"/>
        </a:p>
      </dgm:t>
    </dgm:pt>
    <dgm:pt modelId="{5F75459C-FFA7-434E-8713-292F540761AF}">
      <dgm:prSet phldrT="[Text]"/>
      <dgm:spPr/>
      <dgm:t>
        <a:bodyPr/>
        <a:lstStyle/>
        <a:p>
          <a:r>
            <a:rPr lang="en-GB" dirty="0"/>
            <a:t>The opportunity of remotely monitoring and controlling machines and assets</a:t>
          </a:r>
        </a:p>
      </dgm:t>
    </dgm:pt>
    <dgm:pt modelId="{5B4D8428-43C4-46B5-B4B9-55FEF2D495C7}" type="parTrans" cxnId="{2DE5D774-0866-4239-824E-095165B9828C}">
      <dgm:prSet/>
      <dgm:spPr/>
      <dgm:t>
        <a:bodyPr/>
        <a:lstStyle/>
        <a:p>
          <a:endParaRPr lang="en-GB"/>
        </a:p>
      </dgm:t>
    </dgm:pt>
    <dgm:pt modelId="{F0B11E4C-DBE0-45CB-89A8-75D98557153F}" type="sibTrans" cxnId="{2DE5D774-0866-4239-824E-095165B9828C}">
      <dgm:prSet/>
      <dgm:spPr/>
      <dgm:t>
        <a:bodyPr/>
        <a:lstStyle/>
        <a:p>
          <a:endParaRPr lang="en-GB"/>
        </a:p>
      </dgm:t>
    </dgm:pt>
    <dgm:pt modelId="{FEB46512-AB8D-4D8E-8DAC-1C74909BBFA4}">
      <dgm:prSet phldrT="[Text]"/>
      <dgm:spPr/>
      <dgm:t>
        <a:bodyPr/>
        <a:lstStyle/>
        <a:p>
          <a:r>
            <a:rPr lang="en-GB" dirty="0"/>
            <a:t>The opportunity of creating remote human-machine interactions</a:t>
          </a:r>
        </a:p>
      </dgm:t>
    </dgm:pt>
    <dgm:pt modelId="{CED4937B-0392-4F89-A3F6-F624CF225CDD}" type="parTrans" cxnId="{F7DEF111-A5D8-4AE7-9779-9BC2F1FE6146}">
      <dgm:prSet/>
      <dgm:spPr/>
      <dgm:t>
        <a:bodyPr/>
        <a:lstStyle/>
        <a:p>
          <a:endParaRPr lang="en-GB"/>
        </a:p>
      </dgm:t>
    </dgm:pt>
    <dgm:pt modelId="{2AC5310D-FCB3-4E01-9A3C-0D2AA3114208}" type="sibTrans" cxnId="{F7DEF111-A5D8-4AE7-9779-9BC2F1FE6146}">
      <dgm:prSet/>
      <dgm:spPr/>
      <dgm:t>
        <a:bodyPr/>
        <a:lstStyle/>
        <a:p>
          <a:endParaRPr lang="en-GB"/>
        </a:p>
      </dgm:t>
    </dgm:pt>
    <dgm:pt modelId="{37CC5BFE-E0F2-4AEC-9DA7-11DB548EE447}" type="pres">
      <dgm:prSet presAssocID="{7815E948-65BF-4825-B343-8F6D5E287D9B}" presName="linearFlow" presStyleCnt="0">
        <dgm:presLayoutVars>
          <dgm:dir/>
          <dgm:animLvl val="lvl"/>
          <dgm:resizeHandles val="exact"/>
        </dgm:presLayoutVars>
      </dgm:prSet>
      <dgm:spPr/>
    </dgm:pt>
    <dgm:pt modelId="{208FD72F-A2E1-479D-9E50-11F4CB3DBA59}" type="pres">
      <dgm:prSet presAssocID="{E247AEA6-DA90-4001-A46D-435BE6547637}" presName="composite" presStyleCnt="0"/>
      <dgm:spPr/>
    </dgm:pt>
    <dgm:pt modelId="{0FA918D2-BBF1-4786-8C5F-9375807430BF}" type="pres">
      <dgm:prSet presAssocID="{E247AEA6-DA90-4001-A46D-435BE6547637}" presName="parentText" presStyleLbl="alignNode1" presStyleIdx="0" presStyleCnt="1">
        <dgm:presLayoutVars>
          <dgm:chMax val="1"/>
          <dgm:bulletEnabled val="1"/>
        </dgm:presLayoutVars>
      </dgm:prSet>
      <dgm:spPr/>
    </dgm:pt>
    <dgm:pt modelId="{5153662A-9B82-4B97-B01B-A3A9947976EB}" type="pres">
      <dgm:prSet presAssocID="{E247AEA6-DA90-4001-A46D-435BE6547637}" presName="descendantText" presStyleLbl="alignAcc1" presStyleIdx="0" presStyleCnt="1">
        <dgm:presLayoutVars>
          <dgm:bulletEnabled val="1"/>
        </dgm:presLayoutVars>
      </dgm:prSet>
      <dgm:spPr/>
    </dgm:pt>
  </dgm:ptLst>
  <dgm:cxnLst>
    <dgm:cxn modelId="{F7DEF111-A5D8-4AE7-9779-9BC2F1FE6146}" srcId="{E247AEA6-DA90-4001-A46D-435BE6547637}" destId="{FEB46512-AB8D-4D8E-8DAC-1C74909BBFA4}" srcOrd="2" destOrd="0" parTransId="{CED4937B-0392-4F89-A3F6-F624CF225CDD}" sibTransId="{2AC5310D-FCB3-4E01-9A3C-0D2AA3114208}"/>
    <dgm:cxn modelId="{80D4EA15-FB22-4CDC-B4B5-EB4EF045E738}" type="presOf" srcId="{FEB46512-AB8D-4D8E-8DAC-1C74909BBFA4}" destId="{5153662A-9B82-4B97-B01B-A3A9947976EB}" srcOrd="0" destOrd="2" presId="urn:microsoft.com/office/officeart/2005/8/layout/chevron2"/>
    <dgm:cxn modelId="{4610131A-7AEC-4489-9E84-FE3734807AD7}" srcId="{E247AEA6-DA90-4001-A46D-435BE6547637}" destId="{0642AEEA-6D24-4ABF-A413-8B1B849756B7}" srcOrd="0" destOrd="0" parTransId="{8AA00BD6-5152-43B5-880F-937D0F3A84B5}" sibTransId="{722D814E-A20F-431E-9207-C360A8822689}"/>
    <dgm:cxn modelId="{BFD1FF5C-9E5E-49E4-8511-34C3A6C2A029}" type="presOf" srcId="{0642AEEA-6D24-4ABF-A413-8B1B849756B7}" destId="{5153662A-9B82-4B97-B01B-A3A9947976EB}" srcOrd="0" destOrd="0" presId="urn:microsoft.com/office/officeart/2005/8/layout/chevron2"/>
    <dgm:cxn modelId="{BCF56045-AE0F-434D-9E25-55E2E58DD51F}" srcId="{7815E948-65BF-4825-B343-8F6D5E287D9B}" destId="{E247AEA6-DA90-4001-A46D-435BE6547637}" srcOrd="0" destOrd="0" parTransId="{08E62714-48D6-4C01-8D82-9AFC62737684}" sibTransId="{2DDFCD99-49F2-41B2-A086-21D1FCE74C9D}"/>
    <dgm:cxn modelId="{2DE5D774-0866-4239-824E-095165B9828C}" srcId="{E247AEA6-DA90-4001-A46D-435BE6547637}" destId="{5F75459C-FFA7-434E-8713-292F540761AF}" srcOrd="1" destOrd="0" parTransId="{5B4D8428-43C4-46B5-B4B9-55FEF2D495C7}" sibTransId="{F0B11E4C-DBE0-45CB-89A8-75D98557153F}"/>
    <dgm:cxn modelId="{C8A30355-5668-49B8-AAF0-4E3B20765F62}" type="presOf" srcId="{5F75459C-FFA7-434E-8713-292F540761AF}" destId="{5153662A-9B82-4B97-B01B-A3A9947976EB}" srcOrd="0" destOrd="1" presId="urn:microsoft.com/office/officeart/2005/8/layout/chevron2"/>
    <dgm:cxn modelId="{62D18E93-2C37-42EE-9552-4E3A19EC0416}" type="presOf" srcId="{E247AEA6-DA90-4001-A46D-435BE6547637}" destId="{0FA918D2-BBF1-4786-8C5F-9375807430BF}" srcOrd="0" destOrd="0" presId="urn:microsoft.com/office/officeart/2005/8/layout/chevron2"/>
    <dgm:cxn modelId="{A80B24A3-4BF3-4D13-AA06-C1EF2BCC83A7}" type="presOf" srcId="{7815E948-65BF-4825-B343-8F6D5E287D9B}" destId="{37CC5BFE-E0F2-4AEC-9DA7-11DB548EE447}" srcOrd="0" destOrd="0" presId="urn:microsoft.com/office/officeart/2005/8/layout/chevron2"/>
    <dgm:cxn modelId="{CD039016-B277-4A8A-ADB2-361FF1FB8135}" type="presParOf" srcId="{37CC5BFE-E0F2-4AEC-9DA7-11DB548EE447}" destId="{208FD72F-A2E1-479D-9E50-11F4CB3DBA59}" srcOrd="0" destOrd="0" presId="urn:microsoft.com/office/officeart/2005/8/layout/chevron2"/>
    <dgm:cxn modelId="{6A6448F4-C9E6-4142-A840-EF51AAA3EADC}" type="presParOf" srcId="{208FD72F-A2E1-479D-9E50-11F4CB3DBA59}" destId="{0FA918D2-BBF1-4786-8C5F-9375807430BF}" srcOrd="0" destOrd="0" presId="urn:microsoft.com/office/officeart/2005/8/layout/chevron2"/>
    <dgm:cxn modelId="{F665D64E-6A34-4C1C-BD9C-9042E82B290D}" type="presParOf" srcId="{208FD72F-A2E1-479D-9E50-11F4CB3DBA59}" destId="{5153662A-9B82-4B97-B01B-A3A9947976EB}"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6050361-0D98-4DC5-ADCD-FE871B9CEB84}"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GB"/>
        </a:p>
      </dgm:t>
    </dgm:pt>
    <dgm:pt modelId="{0CAA64D4-C050-4752-AE17-46D89417D3ED}">
      <dgm:prSet phldrT="[Text]"/>
      <dgm:spPr>
        <a:solidFill>
          <a:schemeClr val="accent2"/>
        </a:solidFill>
      </dgm:spPr>
      <dgm:t>
        <a:bodyPr/>
        <a:lstStyle/>
        <a:p>
          <a:r>
            <a:rPr lang="en-GB" dirty="0"/>
            <a:t>Industry 4.0</a:t>
          </a:r>
        </a:p>
      </dgm:t>
    </dgm:pt>
    <dgm:pt modelId="{556E5E4E-0762-4118-BE81-9BED28F8F694}" type="parTrans" cxnId="{1EBFC14F-31D3-48DB-9CA8-5BEB1EC76B69}">
      <dgm:prSet/>
      <dgm:spPr/>
      <dgm:t>
        <a:bodyPr/>
        <a:lstStyle/>
        <a:p>
          <a:endParaRPr lang="en-GB"/>
        </a:p>
      </dgm:t>
    </dgm:pt>
    <dgm:pt modelId="{1AE68777-C1EB-4C41-BD73-BF3BC05AF7C7}" type="sibTrans" cxnId="{1EBFC14F-31D3-48DB-9CA8-5BEB1EC76B69}">
      <dgm:prSet/>
      <dgm:spPr/>
      <dgm:t>
        <a:bodyPr/>
        <a:lstStyle/>
        <a:p>
          <a:endParaRPr lang="en-GB"/>
        </a:p>
      </dgm:t>
    </dgm:pt>
    <dgm:pt modelId="{57EB0449-6552-410A-8C31-F2F6EDAD2F58}">
      <dgm:prSet phldrT="[Text]"/>
      <dgm:spPr>
        <a:solidFill>
          <a:schemeClr val="accent6">
            <a:lumMod val="60000"/>
            <a:lumOff val="40000"/>
          </a:schemeClr>
        </a:solidFill>
      </dgm:spPr>
      <dgm:t>
        <a:bodyPr/>
        <a:lstStyle/>
        <a:p>
          <a:r>
            <a:rPr lang="en-GB" dirty="0"/>
            <a:t>Tourism</a:t>
          </a:r>
        </a:p>
      </dgm:t>
    </dgm:pt>
    <dgm:pt modelId="{EEBD8F23-B21C-40C7-89F5-66F5D1079FC4}" type="parTrans" cxnId="{72110216-9D1E-470C-8651-3297B4F3E6DC}">
      <dgm:prSet/>
      <dgm:spPr/>
      <dgm:t>
        <a:bodyPr/>
        <a:lstStyle/>
        <a:p>
          <a:endParaRPr lang="en-GB"/>
        </a:p>
      </dgm:t>
    </dgm:pt>
    <dgm:pt modelId="{64DC2AB6-C367-4C28-AB9B-0FA1F63C8FF3}" type="sibTrans" cxnId="{72110216-9D1E-470C-8651-3297B4F3E6DC}">
      <dgm:prSet/>
      <dgm:spPr/>
      <dgm:t>
        <a:bodyPr/>
        <a:lstStyle/>
        <a:p>
          <a:endParaRPr lang="en-GB"/>
        </a:p>
      </dgm:t>
    </dgm:pt>
    <dgm:pt modelId="{003582C3-4BA9-4150-AC32-55FC9139369B}">
      <dgm:prSet phldrT="[Text]"/>
      <dgm:spPr/>
      <dgm:t>
        <a:bodyPr/>
        <a:lstStyle/>
        <a:p>
          <a:r>
            <a:rPr lang="en-GB" dirty="0"/>
            <a:t>Elderly and people in need</a:t>
          </a:r>
        </a:p>
      </dgm:t>
    </dgm:pt>
    <dgm:pt modelId="{D6883C29-30BA-412F-9CB3-7D8B4B298453}" type="parTrans" cxnId="{74874068-01F4-4F2E-AB9C-93431FEE37C2}">
      <dgm:prSet/>
      <dgm:spPr/>
      <dgm:t>
        <a:bodyPr/>
        <a:lstStyle/>
        <a:p>
          <a:endParaRPr lang="en-GB"/>
        </a:p>
      </dgm:t>
    </dgm:pt>
    <dgm:pt modelId="{D29BB3A5-96D9-4CEB-BD9A-7C308B6808BC}" type="sibTrans" cxnId="{74874068-01F4-4F2E-AB9C-93431FEE37C2}">
      <dgm:prSet/>
      <dgm:spPr/>
      <dgm:t>
        <a:bodyPr/>
        <a:lstStyle/>
        <a:p>
          <a:endParaRPr lang="en-GB"/>
        </a:p>
      </dgm:t>
    </dgm:pt>
    <dgm:pt modelId="{A3F65881-2F01-4AB9-B62A-F037316D8C68}">
      <dgm:prSet phldrT="[Text]"/>
      <dgm:spPr>
        <a:solidFill>
          <a:schemeClr val="accent2"/>
        </a:solidFill>
      </dgm:spPr>
      <dgm:t>
        <a:bodyPr/>
        <a:lstStyle/>
        <a:p>
          <a:pPr>
            <a:buSzPts val="1000"/>
            <a:buFont typeface="Arial" panose="020B0604020202020204" pitchFamily="34" charset="0"/>
            <a:buNone/>
          </a:pPr>
          <a:r>
            <a:rPr lang="en-GB" dirty="0"/>
            <a:t>Remote and real-time visibility of resources and activities</a:t>
          </a:r>
        </a:p>
      </dgm:t>
    </dgm:pt>
    <dgm:pt modelId="{AD144A2F-6909-432D-A7AA-AFC914A0B932}" type="parTrans" cxnId="{595B2C4B-DB8E-4981-B362-BBEDF4CB0EDD}">
      <dgm:prSet/>
      <dgm:spPr/>
      <dgm:t>
        <a:bodyPr/>
        <a:lstStyle/>
        <a:p>
          <a:endParaRPr lang="en-GB"/>
        </a:p>
      </dgm:t>
    </dgm:pt>
    <dgm:pt modelId="{00434543-39DA-47BC-B0B5-01F7B2FCDCC0}" type="sibTrans" cxnId="{595B2C4B-DB8E-4981-B362-BBEDF4CB0EDD}">
      <dgm:prSet/>
      <dgm:spPr/>
      <dgm:t>
        <a:bodyPr/>
        <a:lstStyle/>
        <a:p>
          <a:endParaRPr lang="en-GB"/>
        </a:p>
      </dgm:t>
    </dgm:pt>
    <dgm:pt modelId="{2FF90461-7AD5-423E-8C21-618280E0DD31}">
      <dgm:prSet phldrT="[Text]"/>
      <dgm:spPr>
        <a:solidFill>
          <a:schemeClr val="accent2"/>
        </a:solidFill>
      </dgm:spPr>
      <dgm:t>
        <a:bodyPr/>
        <a:lstStyle/>
        <a:p>
          <a:pPr>
            <a:buSzPts val="1000"/>
            <a:buFont typeface="Arial" panose="020B0604020202020204" pitchFamily="34" charset="0"/>
            <a:buNone/>
          </a:pPr>
          <a:r>
            <a:rPr lang="en-GB" dirty="0"/>
            <a:t>3D printing for spare parts and smart contract-based exchange</a:t>
          </a:r>
        </a:p>
      </dgm:t>
    </dgm:pt>
    <dgm:pt modelId="{49D41285-E19B-4208-9348-42B35FD82FC8}" type="parTrans" cxnId="{C58925E8-B15E-4EC8-B0F4-DEC478948B0F}">
      <dgm:prSet/>
      <dgm:spPr/>
      <dgm:t>
        <a:bodyPr/>
        <a:lstStyle/>
        <a:p>
          <a:endParaRPr lang="en-GB"/>
        </a:p>
      </dgm:t>
    </dgm:pt>
    <dgm:pt modelId="{2440AE87-7EAE-41E6-9813-A3E9D4BB3BDA}" type="sibTrans" cxnId="{C58925E8-B15E-4EC8-B0F4-DEC478948B0F}">
      <dgm:prSet/>
      <dgm:spPr/>
      <dgm:t>
        <a:bodyPr/>
        <a:lstStyle/>
        <a:p>
          <a:endParaRPr lang="en-GB"/>
        </a:p>
      </dgm:t>
    </dgm:pt>
    <dgm:pt modelId="{160D5784-27A0-47BF-953E-D5EA2A154059}">
      <dgm:prSet/>
      <dgm:spPr>
        <a:solidFill>
          <a:schemeClr val="accent2"/>
        </a:solidFill>
      </dgm:spPr>
      <dgm:t>
        <a:bodyPr/>
        <a:lstStyle/>
        <a:p>
          <a:pPr>
            <a:buSzPts val="1000"/>
            <a:buFont typeface="Symbol" panose="05050102010706020507" pitchFamily="18" charset="2"/>
            <a:buChar char=""/>
          </a:pPr>
          <a:r>
            <a:rPr lang="en-GB" dirty="0"/>
            <a:t>Immersive realities for remote control of machines</a:t>
          </a:r>
        </a:p>
      </dgm:t>
    </dgm:pt>
    <dgm:pt modelId="{B36900B1-92B6-46C0-86A5-243584A9DD6D}" type="parTrans" cxnId="{C54AA361-3768-47E7-A476-965263096FDD}">
      <dgm:prSet/>
      <dgm:spPr/>
      <dgm:t>
        <a:bodyPr/>
        <a:lstStyle/>
        <a:p>
          <a:endParaRPr lang="en-GB"/>
        </a:p>
      </dgm:t>
    </dgm:pt>
    <dgm:pt modelId="{CA08B69B-F47E-42EC-AE50-9BE7155AB7BA}" type="sibTrans" cxnId="{C54AA361-3768-47E7-A476-965263096FDD}">
      <dgm:prSet/>
      <dgm:spPr/>
      <dgm:t>
        <a:bodyPr/>
        <a:lstStyle/>
        <a:p>
          <a:endParaRPr lang="en-GB"/>
        </a:p>
      </dgm:t>
    </dgm:pt>
    <dgm:pt modelId="{3CF2A087-AD01-4746-BE32-BC465B0741A3}">
      <dgm:prSet/>
      <dgm:spPr>
        <a:solidFill>
          <a:schemeClr val="accent2"/>
        </a:solidFill>
      </dgm:spPr>
      <dgm:t>
        <a:bodyPr/>
        <a:lstStyle/>
        <a:p>
          <a:pPr>
            <a:buSzPts val="1000"/>
            <a:buFont typeface="Symbol" panose="05050102010706020507" pitchFamily="18" charset="2"/>
            <a:buChar char=""/>
          </a:pPr>
          <a:r>
            <a:rPr lang="en-GB" dirty="0"/>
            <a:t>AI for assessing status and predicting conditions </a:t>
          </a:r>
        </a:p>
      </dgm:t>
    </dgm:pt>
    <dgm:pt modelId="{93C86F0D-53AD-4632-A016-E8D0F9DEC326}" type="parTrans" cxnId="{73304812-B73A-4707-AAD4-315991121532}">
      <dgm:prSet/>
      <dgm:spPr/>
      <dgm:t>
        <a:bodyPr/>
        <a:lstStyle/>
        <a:p>
          <a:endParaRPr lang="en-GB"/>
        </a:p>
      </dgm:t>
    </dgm:pt>
    <dgm:pt modelId="{DCC99226-7F8E-4DA4-93AC-B70F80D2126B}" type="sibTrans" cxnId="{73304812-B73A-4707-AAD4-315991121532}">
      <dgm:prSet/>
      <dgm:spPr/>
      <dgm:t>
        <a:bodyPr/>
        <a:lstStyle/>
        <a:p>
          <a:endParaRPr lang="en-GB"/>
        </a:p>
      </dgm:t>
    </dgm:pt>
    <dgm:pt modelId="{255DBC13-4BC2-4A58-B2CE-790BF54259E2}">
      <dgm:prSet phldrT="[Text]"/>
      <dgm:spPr>
        <a:solidFill>
          <a:schemeClr val="accent6">
            <a:lumMod val="60000"/>
            <a:lumOff val="40000"/>
          </a:schemeClr>
        </a:solidFill>
      </dgm:spPr>
      <dgm:t>
        <a:bodyPr/>
        <a:lstStyle/>
        <a:p>
          <a:r>
            <a:rPr lang="en-GB" dirty="0"/>
            <a:t>Immersive realities (VR) for marketing</a:t>
          </a:r>
        </a:p>
      </dgm:t>
    </dgm:pt>
    <dgm:pt modelId="{489481EC-6766-43DE-BA2D-5F8266899A7F}" type="parTrans" cxnId="{9F96E4D8-1675-48F0-AEB1-CF533D3EF8B7}">
      <dgm:prSet/>
      <dgm:spPr/>
      <dgm:t>
        <a:bodyPr/>
        <a:lstStyle/>
        <a:p>
          <a:endParaRPr lang="en-GB"/>
        </a:p>
      </dgm:t>
    </dgm:pt>
    <dgm:pt modelId="{532F3503-21BF-45B1-A3DE-3A1296DDCF10}" type="sibTrans" cxnId="{9F96E4D8-1675-48F0-AEB1-CF533D3EF8B7}">
      <dgm:prSet/>
      <dgm:spPr/>
      <dgm:t>
        <a:bodyPr/>
        <a:lstStyle/>
        <a:p>
          <a:endParaRPr lang="en-GB"/>
        </a:p>
      </dgm:t>
    </dgm:pt>
    <dgm:pt modelId="{69DF15DD-252C-4412-B995-40BF0FD3E822}">
      <dgm:prSet phldrT="[Text]"/>
      <dgm:spPr>
        <a:solidFill>
          <a:schemeClr val="accent6">
            <a:lumMod val="60000"/>
            <a:lumOff val="40000"/>
          </a:schemeClr>
        </a:solidFill>
      </dgm:spPr>
      <dgm:t>
        <a:bodyPr/>
        <a:lstStyle/>
        <a:p>
          <a:r>
            <a:rPr lang="en-GB" dirty="0"/>
            <a:t>Drones for social distancing monitoring</a:t>
          </a:r>
        </a:p>
      </dgm:t>
    </dgm:pt>
    <dgm:pt modelId="{2141CA38-868D-45B3-87CE-0C71C4F63506}" type="parTrans" cxnId="{AF8BF243-B769-48D4-B4B5-65EACC8FC58F}">
      <dgm:prSet/>
      <dgm:spPr/>
      <dgm:t>
        <a:bodyPr/>
        <a:lstStyle/>
        <a:p>
          <a:endParaRPr lang="en-GB"/>
        </a:p>
      </dgm:t>
    </dgm:pt>
    <dgm:pt modelId="{838C7FA6-08E8-44D3-B13B-D14FA05FA782}" type="sibTrans" cxnId="{AF8BF243-B769-48D4-B4B5-65EACC8FC58F}">
      <dgm:prSet/>
      <dgm:spPr/>
      <dgm:t>
        <a:bodyPr/>
        <a:lstStyle/>
        <a:p>
          <a:endParaRPr lang="en-GB"/>
        </a:p>
      </dgm:t>
    </dgm:pt>
    <dgm:pt modelId="{5260B3B6-2701-451D-AAA0-D89698DE251C}">
      <dgm:prSet phldrT="[Text]"/>
      <dgm:spPr/>
      <dgm:t>
        <a:bodyPr/>
        <a:lstStyle/>
        <a:p>
          <a:r>
            <a:rPr lang="en-GB" dirty="0"/>
            <a:t>Re-thinking home caring through smart buildings/smart home solutions</a:t>
          </a:r>
        </a:p>
      </dgm:t>
    </dgm:pt>
    <dgm:pt modelId="{5545C805-2D83-4C8D-9055-E234C339F245}" type="parTrans" cxnId="{69FDAC83-1B39-464F-AFF3-CEE5E68C54E9}">
      <dgm:prSet/>
      <dgm:spPr/>
      <dgm:t>
        <a:bodyPr/>
        <a:lstStyle/>
        <a:p>
          <a:endParaRPr lang="en-GB"/>
        </a:p>
      </dgm:t>
    </dgm:pt>
    <dgm:pt modelId="{D4FC9EA8-C45C-4766-872F-469AADD515DA}" type="sibTrans" cxnId="{69FDAC83-1B39-464F-AFF3-CEE5E68C54E9}">
      <dgm:prSet/>
      <dgm:spPr/>
      <dgm:t>
        <a:bodyPr/>
        <a:lstStyle/>
        <a:p>
          <a:endParaRPr lang="en-GB"/>
        </a:p>
      </dgm:t>
    </dgm:pt>
    <dgm:pt modelId="{7C73CAE6-B433-49AA-8F53-60958E422D1F}">
      <dgm:prSet phldrT="[Text]"/>
      <dgm:spPr/>
      <dgm:t>
        <a:bodyPr/>
        <a:lstStyle/>
        <a:p>
          <a:r>
            <a:rPr lang="en-GB" dirty="0"/>
            <a:t>Ambient and assisted living solutions for patients and carers </a:t>
          </a:r>
        </a:p>
      </dgm:t>
    </dgm:pt>
    <dgm:pt modelId="{55302FF3-C8A6-4B42-9DAE-51FD430E7319}" type="parTrans" cxnId="{D172B7E9-28B3-431E-B266-BCA5FD3DC881}">
      <dgm:prSet/>
      <dgm:spPr/>
      <dgm:t>
        <a:bodyPr/>
        <a:lstStyle/>
        <a:p>
          <a:endParaRPr lang="en-GB"/>
        </a:p>
      </dgm:t>
    </dgm:pt>
    <dgm:pt modelId="{49F97642-7871-4906-9321-7C1CD92D47F1}" type="sibTrans" cxnId="{D172B7E9-28B3-431E-B266-BCA5FD3DC881}">
      <dgm:prSet/>
      <dgm:spPr/>
      <dgm:t>
        <a:bodyPr/>
        <a:lstStyle/>
        <a:p>
          <a:endParaRPr lang="en-GB"/>
        </a:p>
      </dgm:t>
    </dgm:pt>
    <dgm:pt modelId="{EEB711B1-0879-4BC9-A09C-01BB7A372E56}" type="pres">
      <dgm:prSet presAssocID="{F6050361-0D98-4DC5-ADCD-FE871B9CEB84}" presName="Name0" presStyleCnt="0">
        <dgm:presLayoutVars>
          <dgm:chPref val="1"/>
          <dgm:dir/>
          <dgm:animOne val="branch"/>
          <dgm:animLvl val="lvl"/>
          <dgm:resizeHandles/>
        </dgm:presLayoutVars>
      </dgm:prSet>
      <dgm:spPr/>
    </dgm:pt>
    <dgm:pt modelId="{1F2E9847-0B3A-4AA5-B1F5-221772D2B536}" type="pres">
      <dgm:prSet presAssocID="{0CAA64D4-C050-4752-AE17-46D89417D3ED}" presName="vertOne" presStyleCnt="0"/>
      <dgm:spPr/>
    </dgm:pt>
    <dgm:pt modelId="{B5FDEB90-F4A4-44D0-827E-40934957452E}" type="pres">
      <dgm:prSet presAssocID="{0CAA64D4-C050-4752-AE17-46D89417D3ED}" presName="txOne" presStyleLbl="node0" presStyleIdx="0" presStyleCnt="3">
        <dgm:presLayoutVars>
          <dgm:chPref val="3"/>
        </dgm:presLayoutVars>
      </dgm:prSet>
      <dgm:spPr/>
    </dgm:pt>
    <dgm:pt modelId="{0E0EE934-C602-4729-8888-D077A9E8787D}" type="pres">
      <dgm:prSet presAssocID="{0CAA64D4-C050-4752-AE17-46D89417D3ED}" presName="parTransOne" presStyleCnt="0"/>
      <dgm:spPr/>
    </dgm:pt>
    <dgm:pt modelId="{CECC4F66-238B-42B2-968E-FE6A23305A37}" type="pres">
      <dgm:prSet presAssocID="{0CAA64D4-C050-4752-AE17-46D89417D3ED}" presName="horzOne" presStyleCnt="0"/>
      <dgm:spPr/>
    </dgm:pt>
    <dgm:pt modelId="{F59B3DF6-D4AF-4B75-AE08-FCBBCD9863BA}" type="pres">
      <dgm:prSet presAssocID="{A3F65881-2F01-4AB9-B62A-F037316D8C68}" presName="vertTwo" presStyleCnt="0"/>
      <dgm:spPr/>
    </dgm:pt>
    <dgm:pt modelId="{D75305AD-224D-4B05-AB07-B12033DA4FCA}" type="pres">
      <dgm:prSet presAssocID="{A3F65881-2F01-4AB9-B62A-F037316D8C68}" presName="txTwo" presStyleLbl="node2" presStyleIdx="0" presStyleCnt="8">
        <dgm:presLayoutVars>
          <dgm:chPref val="3"/>
        </dgm:presLayoutVars>
      </dgm:prSet>
      <dgm:spPr/>
    </dgm:pt>
    <dgm:pt modelId="{9D060DF2-DF70-46F7-9C79-C7E9CA6C327E}" type="pres">
      <dgm:prSet presAssocID="{A3F65881-2F01-4AB9-B62A-F037316D8C68}" presName="horzTwo" presStyleCnt="0"/>
      <dgm:spPr/>
    </dgm:pt>
    <dgm:pt modelId="{C420AA60-00CB-4DD8-9F7B-86A376A000EF}" type="pres">
      <dgm:prSet presAssocID="{00434543-39DA-47BC-B0B5-01F7B2FCDCC0}" presName="sibSpaceTwo" presStyleCnt="0"/>
      <dgm:spPr/>
    </dgm:pt>
    <dgm:pt modelId="{2E4BE9AC-FCB1-4D16-8FC3-0761ACAEABBC}" type="pres">
      <dgm:prSet presAssocID="{2FF90461-7AD5-423E-8C21-618280E0DD31}" presName="vertTwo" presStyleCnt="0"/>
      <dgm:spPr/>
    </dgm:pt>
    <dgm:pt modelId="{160C0C0D-4F70-46CB-8EB8-AEDBEA466051}" type="pres">
      <dgm:prSet presAssocID="{2FF90461-7AD5-423E-8C21-618280E0DD31}" presName="txTwo" presStyleLbl="node2" presStyleIdx="1" presStyleCnt="8">
        <dgm:presLayoutVars>
          <dgm:chPref val="3"/>
        </dgm:presLayoutVars>
      </dgm:prSet>
      <dgm:spPr/>
    </dgm:pt>
    <dgm:pt modelId="{A966759C-A054-44A1-B361-FE9AE28CBB59}" type="pres">
      <dgm:prSet presAssocID="{2FF90461-7AD5-423E-8C21-618280E0DD31}" presName="horzTwo" presStyleCnt="0"/>
      <dgm:spPr/>
    </dgm:pt>
    <dgm:pt modelId="{91933D54-AF34-4B66-A523-110653833A0A}" type="pres">
      <dgm:prSet presAssocID="{2440AE87-7EAE-41E6-9813-A3E9D4BB3BDA}" presName="sibSpaceTwo" presStyleCnt="0"/>
      <dgm:spPr/>
    </dgm:pt>
    <dgm:pt modelId="{3D9076A6-48FC-4C6F-A539-33957C01D11D}" type="pres">
      <dgm:prSet presAssocID="{160D5784-27A0-47BF-953E-D5EA2A154059}" presName="vertTwo" presStyleCnt="0"/>
      <dgm:spPr/>
    </dgm:pt>
    <dgm:pt modelId="{ACE1E0AA-865E-43C5-869A-4E81D6C408FE}" type="pres">
      <dgm:prSet presAssocID="{160D5784-27A0-47BF-953E-D5EA2A154059}" presName="txTwo" presStyleLbl="node2" presStyleIdx="2" presStyleCnt="8">
        <dgm:presLayoutVars>
          <dgm:chPref val="3"/>
        </dgm:presLayoutVars>
      </dgm:prSet>
      <dgm:spPr/>
    </dgm:pt>
    <dgm:pt modelId="{5EF83A2A-9780-4F98-BFC6-9F5D9AA919FC}" type="pres">
      <dgm:prSet presAssocID="{160D5784-27A0-47BF-953E-D5EA2A154059}" presName="horzTwo" presStyleCnt="0"/>
      <dgm:spPr/>
    </dgm:pt>
    <dgm:pt modelId="{05ED9A9D-083D-4B62-8907-08A75B7D4CF4}" type="pres">
      <dgm:prSet presAssocID="{CA08B69B-F47E-42EC-AE50-9BE7155AB7BA}" presName="sibSpaceTwo" presStyleCnt="0"/>
      <dgm:spPr/>
    </dgm:pt>
    <dgm:pt modelId="{557A9244-01E3-44F7-85E8-012CC3665220}" type="pres">
      <dgm:prSet presAssocID="{3CF2A087-AD01-4746-BE32-BC465B0741A3}" presName="vertTwo" presStyleCnt="0"/>
      <dgm:spPr/>
    </dgm:pt>
    <dgm:pt modelId="{D16FB369-0B6A-4611-9D0A-E45982C33497}" type="pres">
      <dgm:prSet presAssocID="{3CF2A087-AD01-4746-BE32-BC465B0741A3}" presName="txTwo" presStyleLbl="node2" presStyleIdx="3" presStyleCnt="8">
        <dgm:presLayoutVars>
          <dgm:chPref val="3"/>
        </dgm:presLayoutVars>
      </dgm:prSet>
      <dgm:spPr/>
    </dgm:pt>
    <dgm:pt modelId="{8BF46DD9-CFD1-4C32-B4CD-F482A043E0A9}" type="pres">
      <dgm:prSet presAssocID="{3CF2A087-AD01-4746-BE32-BC465B0741A3}" presName="horzTwo" presStyleCnt="0"/>
      <dgm:spPr/>
    </dgm:pt>
    <dgm:pt modelId="{B811F409-D932-45A7-BD86-2002720D369A}" type="pres">
      <dgm:prSet presAssocID="{1AE68777-C1EB-4C41-BD73-BF3BC05AF7C7}" presName="sibSpaceOne" presStyleCnt="0"/>
      <dgm:spPr/>
    </dgm:pt>
    <dgm:pt modelId="{14F6CE46-7BFB-458B-9B09-8FF4CCF61EEB}" type="pres">
      <dgm:prSet presAssocID="{57EB0449-6552-410A-8C31-F2F6EDAD2F58}" presName="vertOne" presStyleCnt="0"/>
      <dgm:spPr/>
    </dgm:pt>
    <dgm:pt modelId="{0AA0D7C4-09BC-4981-B1BC-4F2D3AEB6D94}" type="pres">
      <dgm:prSet presAssocID="{57EB0449-6552-410A-8C31-F2F6EDAD2F58}" presName="txOne" presStyleLbl="node0" presStyleIdx="1" presStyleCnt="3">
        <dgm:presLayoutVars>
          <dgm:chPref val="3"/>
        </dgm:presLayoutVars>
      </dgm:prSet>
      <dgm:spPr/>
    </dgm:pt>
    <dgm:pt modelId="{8D9B4088-818B-4355-ABC2-36D442178FF6}" type="pres">
      <dgm:prSet presAssocID="{57EB0449-6552-410A-8C31-F2F6EDAD2F58}" presName="parTransOne" presStyleCnt="0"/>
      <dgm:spPr/>
    </dgm:pt>
    <dgm:pt modelId="{E6FF45DA-2B65-4CA3-B1B9-2EA6B24DADF8}" type="pres">
      <dgm:prSet presAssocID="{57EB0449-6552-410A-8C31-F2F6EDAD2F58}" presName="horzOne" presStyleCnt="0"/>
      <dgm:spPr/>
    </dgm:pt>
    <dgm:pt modelId="{7249E0FF-AED7-4F03-A2F4-2B6BEC3701B5}" type="pres">
      <dgm:prSet presAssocID="{255DBC13-4BC2-4A58-B2CE-790BF54259E2}" presName="vertTwo" presStyleCnt="0"/>
      <dgm:spPr/>
    </dgm:pt>
    <dgm:pt modelId="{14DB4DC8-05D3-40CB-B694-7EBF8B096912}" type="pres">
      <dgm:prSet presAssocID="{255DBC13-4BC2-4A58-B2CE-790BF54259E2}" presName="txTwo" presStyleLbl="node2" presStyleIdx="4" presStyleCnt="8">
        <dgm:presLayoutVars>
          <dgm:chPref val="3"/>
        </dgm:presLayoutVars>
      </dgm:prSet>
      <dgm:spPr/>
    </dgm:pt>
    <dgm:pt modelId="{A18D508F-C3C0-4F3B-89CC-67745A6AFC91}" type="pres">
      <dgm:prSet presAssocID="{255DBC13-4BC2-4A58-B2CE-790BF54259E2}" presName="horzTwo" presStyleCnt="0"/>
      <dgm:spPr/>
    </dgm:pt>
    <dgm:pt modelId="{1882F2F3-536C-455D-B08A-AFB0AB5DEB00}" type="pres">
      <dgm:prSet presAssocID="{532F3503-21BF-45B1-A3DE-3A1296DDCF10}" presName="sibSpaceTwo" presStyleCnt="0"/>
      <dgm:spPr/>
    </dgm:pt>
    <dgm:pt modelId="{246757E1-FD97-4525-A8AB-C0F854E1C3AA}" type="pres">
      <dgm:prSet presAssocID="{69DF15DD-252C-4412-B995-40BF0FD3E822}" presName="vertTwo" presStyleCnt="0"/>
      <dgm:spPr/>
    </dgm:pt>
    <dgm:pt modelId="{89011CE1-C17F-4C28-A972-5201A64D120B}" type="pres">
      <dgm:prSet presAssocID="{69DF15DD-252C-4412-B995-40BF0FD3E822}" presName="txTwo" presStyleLbl="node2" presStyleIdx="5" presStyleCnt="8">
        <dgm:presLayoutVars>
          <dgm:chPref val="3"/>
        </dgm:presLayoutVars>
      </dgm:prSet>
      <dgm:spPr/>
    </dgm:pt>
    <dgm:pt modelId="{4B188BC7-B5F4-4BB7-AD0D-7A5A2C19BBCB}" type="pres">
      <dgm:prSet presAssocID="{69DF15DD-252C-4412-B995-40BF0FD3E822}" presName="horzTwo" presStyleCnt="0"/>
      <dgm:spPr/>
    </dgm:pt>
    <dgm:pt modelId="{2C425E4E-F7D6-4712-A52A-70C07242D3A6}" type="pres">
      <dgm:prSet presAssocID="{64DC2AB6-C367-4C28-AB9B-0FA1F63C8FF3}" presName="sibSpaceOne" presStyleCnt="0"/>
      <dgm:spPr/>
    </dgm:pt>
    <dgm:pt modelId="{4412F8DB-B612-4A3A-80ED-1F62D6FBEEB5}" type="pres">
      <dgm:prSet presAssocID="{003582C3-4BA9-4150-AC32-55FC9139369B}" presName="vertOne" presStyleCnt="0"/>
      <dgm:spPr/>
    </dgm:pt>
    <dgm:pt modelId="{B7FDAAF0-7C1A-43C7-9C48-2DEBFFED7029}" type="pres">
      <dgm:prSet presAssocID="{003582C3-4BA9-4150-AC32-55FC9139369B}" presName="txOne" presStyleLbl="node0" presStyleIdx="2" presStyleCnt="3">
        <dgm:presLayoutVars>
          <dgm:chPref val="3"/>
        </dgm:presLayoutVars>
      </dgm:prSet>
      <dgm:spPr/>
    </dgm:pt>
    <dgm:pt modelId="{1806DDC7-AAC5-4D6A-99C4-3090F2E74526}" type="pres">
      <dgm:prSet presAssocID="{003582C3-4BA9-4150-AC32-55FC9139369B}" presName="parTransOne" presStyleCnt="0"/>
      <dgm:spPr/>
    </dgm:pt>
    <dgm:pt modelId="{D3E75E40-CD64-4348-A743-7D8765B9660B}" type="pres">
      <dgm:prSet presAssocID="{003582C3-4BA9-4150-AC32-55FC9139369B}" presName="horzOne" presStyleCnt="0"/>
      <dgm:spPr/>
    </dgm:pt>
    <dgm:pt modelId="{1C2C6497-BE97-41EF-820C-B1CE11638D92}" type="pres">
      <dgm:prSet presAssocID="{5260B3B6-2701-451D-AAA0-D89698DE251C}" presName="vertTwo" presStyleCnt="0"/>
      <dgm:spPr/>
    </dgm:pt>
    <dgm:pt modelId="{E4A3C917-7B0D-466C-9D51-0E17BFE3E371}" type="pres">
      <dgm:prSet presAssocID="{5260B3B6-2701-451D-AAA0-D89698DE251C}" presName="txTwo" presStyleLbl="node2" presStyleIdx="6" presStyleCnt="8">
        <dgm:presLayoutVars>
          <dgm:chPref val="3"/>
        </dgm:presLayoutVars>
      </dgm:prSet>
      <dgm:spPr/>
    </dgm:pt>
    <dgm:pt modelId="{C19A813D-09D4-493B-9791-E11EBE12533C}" type="pres">
      <dgm:prSet presAssocID="{5260B3B6-2701-451D-AAA0-D89698DE251C}" presName="horzTwo" presStyleCnt="0"/>
      <dgm:spPr/>
    </dgm:pt>
    <dgm:pt modelId="{AC3ADF82-3997-46E3-A031-2AD2BB177E1A}" type="pres">
      <dgm:prSet presAssocID="{D4FC9EA8-C45C-4766-872F-469AADD515DA}" presName="sibSpaceTwo" presStyleCnt="0"/>
      <dgm:spPr/>
    </dgm:pt>
    <dgm:pt modelId="{6C21B870-CC3D-4F08-BC63-B9664C4430B5}" type="pres">
      <dgm:prSet presAssocID="{7C73CAE6-B433-49AA-8F53-60958E422D1F}" presName="vertTwo" presStyleCnt="0"/>
      <dgm:spPr/>
    </dgm:pt>
    <dgm:pt modelId="{5A50E64D-62D2-43C0-8915-6020F2A8B2F6}" type="pres">
      <dgm:prSet presAssocID="{7C73CAE6-B433-49AA-8F53-60958E422D1F}" presName="txTwo" presStyleLbl="node2" presStyleIdx="7" presStyleCnt="8">
        <dgm:presLayoutVars>
          <dgm:chPref val="3"/>
        </dgm:presLayoutVars>
      </dgm:prSet>
      <dgm:spPr/>
    </dgm:pt>
    <dgm:pt modelId="{A3E339AF-6B32-4ECF-ACCE-E498AEEDA444}" type="pres">
      <dgm:prSet presAssocID="{7C73CAE6-B433-49AA-8F53-60958E422D1F}" presName="horzTwo" presStyleCnt="0"/>
      <dgm:spPr/>
    </dgm:pt>
  </dgm:ptLst>
  <dgm:cxnLst>
    <dgm:cxn modelId="{73304812-B73A-4707-AAD4-315991121532}" srcId="{0CAA64D4-C050-4752-AE17-46D89417D3ED}" destId="{3CF2A087-AD01-4746-BE32-BC465B0741A3}" srcOrd="3" destOrd="0" parTransId="{93C86F0D-53AD-4632-A016-E8D0F9DEC326}" sibTransId="{DCC99226-7F8E-4DA4-93AC-B70F80D2126B}"/>
    <dgm:cxn modelId="{72110216-9D1E-470C-8651-3297B4F3E6DC}" srcId="{F6050361-0D98-4DC5-ADCD-FE871B9CEB84}" destId="{57EB0449-6552-410A-8C31-F2F6EDAD2F58}" srcOrd="1" destOrd="0" parTransId="{EEBD8F23-B21C-40C7-89F5-66F5D1079FC4}" sibTransId="{64DC2AB6-C367-4C28-AB9B-0FA1F63C8FF3}"/>
    <dgm:cxn modelId="{CCCDD61E-EC60-4045-A7BA-43B30BF19BE8}" type="presOf" srcId="{3CF2A087-AD01-4746-BE32-BC465B0741A3}" destId="{D16FB369-0B6A-4611-9D0A-E45982C33497}" srcOrd="0" destOrd="0" presId="urn:microsoft.com/office/officeart/2005/8/layout/hierarchy4"/>
    <dgm:cxn modelId="{68B2DA26-860A-4A9B-9F86-3B2EA89C2B32}" type="presOf" srcId="{69DF15DD-252C-4412-B995-40BF0FD3E822}" destId="{89011CE1-C17F-4C28-A972-5201A64D120B}" srcOrd="0" destOrd="0" presId="urn:microsoft.com/office/officeart/2005/8/layout/hierarchy4"/>
    <dgm:cxn modelId="{C54AA361-3768-47E7-A476-965263096FDD}" srcId="{0CAA64D4-C050-4752-AE17-46D89417D3ED}" destId="{160D5784-27A0-47BF-953E-D5EA2A154059}" srcOrd="2" destOrd="0" parTransId="{B36900B1-92B6-46C0-86A5-243584A9DD6D}" sibTransId="{CA08B69B-F47E-42EC-AE50-9BE7155AB7BA}"/>
    <dgm:cxn modelId="{AF8BF243-B769-48D4-B4B5-65EACC8FC58F}" srcId="{57EB0449-6552-410A-8C31-F2F6EDAD2F58}" destId="{69DF15DD-252C-4412-B995-40BF0FD3E822}" srcOrd="1" destOrd="0" parTransId="{2141CA38-868D-45B3-87CE-0C71C4F63506}" sibTransId="{838C7FA6-08E8-44D3-B13B-D14FA05FA782}"/>
    <dgm:cxn modelId="{74874068-01F4-4F2E-AB9C-93431FEE37C2}" srcId="{F6050361-0D98-4DC5-ADCD-FE871B9CEB84}" destId="{003582C3-4BA9-4150-AC32-55FC9139369B}" srcOrd="2" destOrd="0" parTransId="{D6883C29-30BA-412F-9CB3-7D8B4B298453}" sibTransId="{D29BB3A5-96D9-4CEB-BD9A-7C308B6808BC}"/>
    <dgm:cxn modelId="{84C6834A-167F-4399-95DD-9A69BB235751}" type="presOf" srcId="{003582C3-4BA9-4150-AC32-55FC9139369B}" destId="{B7FDAAF0-7C1A-43C7-9C48-2DEBFFED7029}" srcOrd="0" destOrd="0" presId="urn:microsoft.com/office/officeart/2005/8/layout/hierarchy4"/>
    <dgm:cxn modelId="{595B2C4B-DB8E-4981-B362-BBEDF4CB0EDD}" srcId="{0CAA64D4-C050-4752-AE17-46D89417D3ED}" destId="{A3F65881-2F01-4AB9-B62A-F037316D8C68}" srcOrd="0" destOrd="0" parTransId="{AD144A2F-6909-432D-A7AA-AFC914A0B932}" sibTransId="{00434543-39DA-47BC-B0B5-01F7B2FCDCC0}"/>
    <dgm:cxn modelId="{1EBFC14F-31D3-48DB-9CA8-5BEB1EC76B69}" srcId="{F6050361-0D98-4DC5-ADCD-FE871B9CEB84}" destId="{0CAA64D4-C050-4752-AE17-46D89417D3ED}" srcOrd="0" destOrd="0" parTransId="{556E5E4E-0762-4118-BE81-9BED28F8F694}" sibTransId="{1AE68777-C1EB-4C41-BD73-BF3BC05AF7C7}"/>
    <dgm:cxn modelId="{4E983D71-86D5-44AF-9645-3FA8050DF3A1}" type="presOf" srcId="{5260B3B6-2701-451D-AAA0-D89698DE251C}" destId="{E4A3C917-7B0D-466C-9D51-0E17BFE3E371}" srcOrd="0" destOrd="0" presId="urn:microsoft.com/office/officeart/2005/8/layout/hierarchy4"/>
    <dgm:cxn modelId="{69FDAC83-1B39-464F-AFF3-CEE5E68C54E9}" srcId="{003582C3-4BA9-4150-AC32-55FC9139369B}" destId="{5260B3B6-2701-451D-AAA0-D89698DE251C}" srcOrd="0" destOrd="0" parTransId="{5545C805-2D83-4C8D-9055-E234C339F245}" sibTransId="{D4FC9EA8-C45C-4766-872F-469AADD515DA}"/>
    <dgm:cxn modelId="{0A7B898E-C192-4540-BF9F-8C5C6138EAD8}" type="presOf" srcId="{57EB0449-6552-410A-8C31-F2F6EDAD2F58}" destId="{0AA0D7C4-09BC-4981-B1BC-4F2D3AEB6D94}" srcOrd="0" destOrd="0" presId="urn:microsoft.com/office/officeart/2005/8/layout/hierarchy4"/>
    <dgm:cxn modelId="{66D7CB9B-1FC6-4A5D-B3DA-CC16A050EAEB}" type="presOf" srcId="{0CAA64D4-C050-4752-AE17-46D89417D3ED}" destId="{B5FDEB90-F4A4-44D0-827E-40934957452E}" srcOrd="0" destOrd="0" presId="urn:microsoft.com/office/officeart/2005/8/layout/hierarchy4"/>
    <dgm:cxn modelId="{D49E4EB9-D671-4E81-8BF9-9DDE55E3E447}" type="presOf" srcId="{2FF90461-7AD5-423E-8C21-618280E0DD31}" destId="{160C0C0D-4F70-46CB-8EB8-AEDBEA466051}" srcOrd="0" destOrd="0" presId="urn:microsoft.com/office/officeart/2005/8/layout/hierarchy4"/>
    <dgm:cxn modelId="{6DF1DFBB-ED35-4BCB-A6D0-A11A5A0ED1F5}" type="presOf" srcId="{7C73CAE6-B433-49AA-8F53-60958E422D1F}" destId="{5A50E64D-62D2-43C0-8915-6020F2A8B2F6}" srcOrd="0" destOrd="0" presId="urn:microsoft.com/office/officeart/2005/8/layout/hierarchy4"/>
    <dgm:cxn modelId="{EA2354BF-2C88-46D8-AD48-1A9F9D94F293}" type="presOf" srcId="{A3F65881-2F01-4AB9-B62A-F037316D8C68}" destId="{D75305AD-224D-4B05-AB07-B12033DA4FCA}" srcOrd="0" destOrd="0" presId="urn:microsoft.com/office/officeart/2005/8/layout/hierarchy4"/>
    <dgm:cxn modelId="{A88A7ED4-4F63-4D92-8AC3-BB345121FADB}" type="presOf" srcId="{160D5784-27A0-47BF-953E-D5EA2A154059}" destId="{ACE1E0AA-865E-43C5-869A-4E81D6C408FE}" srcOrd="0" destOrd="0" presId="urn:microsoft.com/office/officeart/2005/8/layout/hierarchy4"/>
    <dgm:cxn modelId="{9F96E4D8-1675-48F0-AEB1-CF533D3EF8B7}" srcId="{57EB0449-6552-410A-8C31-F2F6EDAD2F58}" destId="{255DBC13-4BC2-4A58-B2CE-790BF54259E2}" srcOrd="0" destOrd="0" parTransId="{489481EC-6766-43DE-BA2D-5F8266899A7F}" sibTransId="{532F3503-21BF-45B1-A3DE-3A1296DDCF10}"/>
    <dgm:cxn modelId="{C58925E8-B15E-4EC8-B0F4-DEC478948B0F}" srcId="{0CAA64D4-C050-4752-AE17-46D89417D3ED}" destId="{2FF90461-7AD5-423E-8C21-618280E0DD31}" srcOrd="1" destOrd="0" parTransId="{49D41285-E19B-4208-9348-42B35FD82FC8}" sibTransId="{2440AE87-7EAE-41E6-9813-A3E9D4BB3BDA}"/>
    <dgm:cxn modelId="{2206D5E8-F587-4BF3-9E6B-F653BD2FD06D}" type="presOf" srcId="{F6050361-0D98-4DC5-ADCD-FE871B9CEB84}" destId="{EEB711B1-0879-4BC9-A09C-01BB7A372E56}" srcOrd="0" destOrd="0" presId="urn:microsoft.com/office/officeart/2005/8/layout/hierarchy4"/>
    <dgm:cxn modelId="{D172B7E9-28B3-431E-B266-BCA5FD3DC881}" srcId="{003582C3-4BA9-4150-AC32-55FC9139369B}" destId="{7C73CAE6-B433-49AA-8F53-60958E422D1F}" srcOrd="1" destOrd="0" parTransId="{55302FF3-C8A6-4B42-9DAE-51FD430E7319}" sibTransId="{49F97642-7871-4906-9321-7C1CD92D47F1}"/>
    <dgm:cxn modelId="{2CA6F9F4-BC0B-4982-A806-05F058C3D6C5}" type="presOf" srcId="{255DBC13-4BC2-4A58-B2CE-790BF54259E2}" destId="{14DB4DC8-05D3-40CB-B694-7EBF8B096912}" srcOrd="0" destOrd="0" presId="urn:microsoft.com/office/officeart/2005/8/layout/hierarchy4"/>
    <dgm:cxn modelId="{90407B8E-1932-41C5-9542-068322F32C37}" type="presParOf" srcId="{EEB711B1-0879-4BC9-A09C-01BB7A372E56}" destId="{1F2E9847-0B3A-4AA5-B1F5-221772D2B536}" srcOrd="0" destOrd="0" presId="urn:microsoft.com/office/officeart/2005/8/layout/hierarchy4"/>
    <dgm:cxn modelId="{0D64093D-5EE7-4C16-861D-C9B437CA12B1}" type="presParOf" srcId="{1F2E9847-0B3A-4AA5-B1F5-221772D2B536}" destId="{B5FDEB90-F4A4-44D0-827E-40934957452E}" srcOrd="0" destOrd="0" presId="urn:microsoft.com/office/officeart/2005/8/layout/hierarchy4"/>
    <dgm:cxn modelId="{BF48B3EC-4954-44DF-AA1B-1B78AE6258AC}" type="presParOf" srcId="{1F2E9847-0B3A-4AA5-B1F5-221772D2B536}" destId="{0E0EE934-C602-4729-8888-D077A9E8787D}" srcOrd="1" destOrd="0" presId="urn:microsoft.com/office/officeart/2005/8/layout/hierarchy4"/>
    <dgm:cxn modelId="{26CDC95D-C28E-412A-822B-86027AD53BDC}" type="presParOf" srcId="{1F2E9847-0B3A-4AA5-B1F5-221772D2B536}" destId="{CECC4F66-238B-42B2-968E-FE6A23305A37}" srcOrd="2" destOrd="0" presId="urn:microsoft.com/office/officeart/2005/8/layout/hierarchy4"/>
    <dgm:cxn modelId="{871715F0-716A-403A-A031-E81326C90E13}" type="presParOf" srcId="{CECC4F66-238B-42B2-968E-FE6A23305A37}" destId="{F59B3DF6-D4AF-4B75-AE08-FCBBCD9863BA}" srcOrd="0" destOrd="0" presId="urn:microsoft.com/office/officeart/2005/8/layout/hierarchy4"/>
    <dgm:cxn modelId="{54512EFD-3222-4C62-9A0D-D5ADE667C113}" type="presParOf" srcId="{F59B3DF6-D4AF-4B75-AE08-FCBBCD9863BA}" destId="{D75305AD-224D-4B05-AB07-B12033DA4FCA}" srcOrd="0" destOrd="0" presId="urn:microsoft.com/office/officeart/2005/8/layout/hierarchy4"/>
    <dgm:cxn modelId="{CB200D4B-665D-4F14-917F-B939296C8FFA}" type="presParOf" srcId="{F59B3DF6-D4AF-4B75-AE08-FCBBCD9863BA}" destId="{9D060DF2-DF70-46F7-9C79-C7E9CA6C327E}" srcOrd="1" destOrd="0" presId="urn:microsoft.com/office/officeart/2005/8/layout/hierarchy4"/>
    <dgm:cxn modelId="{D2531813-42D6-4386-9418-403948AC956F}" type="presParOf" srcId="{CECC4F66-238B-42B2-968E-FE6A23305A37}" destId="{C420AA60-00CB-4DD8-9F7B-86A376A000EF}" srcOrd="1" destOrd="0" presId="urn:microsoft.com/office/officeart/2005/8/layout/hierarchy4"/>
    <dgm:cxn modelId="{14E484FD-2EA4-4A51-8FD0-709B3FFE9626}" type="presParOf" srcId="{CECC4F66-238B-42B2-968E-FE6A23305A37}" destId="{2E4BE9AC-FCB1-4D16-8FC3-0761ACAEABBC}" srcOrd="2" destOrd="0" presId="urn:microsoft.com/office/officeart/2005/8/layout/hierarchy4"/>
    <dgm:cxn modelId="{B7A6DD28-EFCF-4375-8DE0-C42E3F27B170}" type="presParOf" srcId="{2E4BE9AC-FCB1-4D16-8FC3-0761ACAEABBC}" destId="{160C0C0D-4F70-46CB-8EB8-AEDBEA466051}" srcOrd="0" destOrd="0" presId="urn:microsoft.com/office/officeart/2005/8/layout/hierarchy4"/>
    <dgm:cxn modelId="{0EFCC940-5FB8-46E8-ABA6-7A6A769B2E8F}" type="presParOf" srcId="{2E4BE9AC-FCB1-4D16-8FC3-0761ACAEABBC}" destId="{A966759C-A054-44A1-B361-FE9AE28CBB59}" srcOrd="1" destOrd="0" presId="urn:microsoft.com/office/officeart/2005/8/layout/hierarchy4"/>
    <dgm:cxn modelId="{1E549F05-FE1F-4179-9FFE-59028B94287C}" type="presParOf" srcId="{CECC4F66-238B-42B2-968E-FE6A23305A37}" destId="{91933D54-AF34-4B66-A523-110653833A0A}" srcOrd="3" destOrd="0" presId="urn:microsoft.com/office/officeart/2005/8/layout/hierarchy4"/>
    <dgm:cxn modelId="{52F57EC7-0D56-4720-938B-EB0E388427FE}" type="presParOf" srcId="{CECC4F66-238B-42B2-968E-FE6A23305A37}" destId="{3D9076A6-48FC-4C6F-A539-33957C01D11D}" srcOrd="4" destOrd="0" presId="urn:microsoft.com/office/officeart/2005/8/layout/hierarchy4"/>
    <dgm:cxn modelId="{3FA831D7-D29E-4174-B97B-98A77D034B56}" type="presParOf" srcId="{3D9076A6-48FC-4C6F-A539-33957C01D11D}" destId="{ACE1E0AA-865E-43C5-869A-4E81D6C408FE}" srcOrd="0" destOrd="0" presId="urn:microsoft.com/office/officeart/2005/8/layout/hierarchy4"/>
    <dgm:cxn modelId="{F81682D8-3AB7-473B-8033-2A935F9CFD56}" type="presParOf" srcId="{3D9076A6-48FC-4C6F-A539-33957C01D11D}" destId="{5EF83A2A-9780-4F98-BFC6-9F5D9AA919FC}" srcOrd="1" destOrd="0" presId="urn:microsoft.com/office/officeart/2005/8/layout/hierarchy4"/>
    <dgm:cxn modelId="{C7EAFB43-DBAC-4F32-AF12-0D669D0DD987}" type="presParOf" srcId="{CECC4F66-238B-42B2-968E-FE6A23305A37}" destId="{05ED9A9D-083D-4B62-8907-08A75B7D4CF4}" srcOrd="5" destOrd="0" presId="urn:microsoft.com/office/officeart/2005/8/layout/hierarchy4"/>
    <dgm:cxn modelId="{6ED75D5E-E4C7-4682-B75A-0773923EB081}" type="presParOf" srcId="{CECC4F66-238B-42B2-968E-FE6A23305A37}" destId="{557A9244-01E3-44F7-85E8-012CC3665220}" srcOrd="6" destOrd="0" presId="urn:microsoft.com/office/officeart/2005/8/layout/hierarchy4"/>
    <dgm:cxn modelId="{0938C74B-5872-4F23-9BAD-54CC1BCB8E87}" type="presParOf" srcId="{557A9244-01E3-44F7-85E8-012CC3665220}" destId="{D16FB369-0B6A-4611-9D0A-E45982C33497}" srcOrd="0" destOrd="0" presId="urn:microsoft.com/office/officeart/2005/8/layout/hierarchy4"/>
    <dgm:cxn modelId="{E906C82C-16C1-48FE-8F2D-718DFE58C7E7}" type="presParOf" srcId="{557A9244-01E3-44F7-85E8-012CC3665220}" destId="{8BF46DD9-CFD1-4C32-B4CD-F482A043E0A9}" srcOrd="1" destOrd="0" presId="urn:microsoft.com/office/officeart/2005/8/layout/hierarchy4"/>
    <dgm:cxn modelId="{31DB1ED3-80E4-4375-9C8C-592A56E59E64}" type="presParOf" srcId="{EEB711B1-0879-4BC9-A09C-01BB7A372E56}" destId="{B811F409-D932-45A7-BD86-2002720D369A}" srcOrd="1" destOrd="0" presId="urn:microsoft.com/office/officeart/2005/8/layout/hierarchy4"/>
    <dgm:cxn modelId="{BBA7500E-3727-4753-8451-680A4CFC2078}" type="presParOf" srcId="{EEB711B1-0879-4BC9-A09C-01BB7A372E56}" destId="{14F6CE46-7BFB-458B-9B09-8FF4CCF61EEB}" srcOrd="2" destOrd="0" presId="urn:microsoft.com/office/officeart/2005/8/layout/hierarchy4"/>
    <dgm:cxn modelId="{05290735-345B-494E-A457-392E9164E661}" type="presParOf" srcId="{14F6CE46-7BFB-458B-9B09-8FF4CCF61EEB}" destId="{0AA0D7C4-09BC-4981-B1BC-4F2D3AEB6D94}" srcOrd="0" destOrd="0" presId="urn:microsoft.com/office/officeart/2005/8/layout/hierarchy4"/>
    <dgm:cxn modelId="{F28FBD6E-A1D4-4B13-B5BA-84DFB288304F}" type="presParOf" srcId="{14F6CE46-7BFB-458B-9B09-8FF4CCF61EEB}" destId="{8D9B4088-818B-4355-ABC2-36D442178FF6}" srcOrd="1" destOrd="0" presId="urn:microsoft.com/office/officeart/2005/8/layout/hierarchy4"/>
    <dgm:cxn modelId="{4E3747A1-C6AB-48C5-8808-56BA1358F8E6}" type="presParOf" srcId="{14F6CE46-7BFB-458B-9B09-8FF4CCF61EEB}" destId="{E6FF45DA-2B65-4CA3-B1B9-2EA6B24DADF8}" srcOrd="2" destOrd="0" presId="urn:microsoft.com/office/officeart/2005/8/layout/hierarchy4"/>
    <dgm:cxn modelId="{0B773A60-A300-42FA-9101-544E0853935E}" type="presParOf" srcId="{E6FF45DA-2B65-4CA3-B1B9-2EA6B24DADF8}" destId="{7249E0FF-AED7-4F03-A2F4-2B6BEC3701B5}" srcOrd="0" destOrd="0" presId="urn:microsoft.com/office/officeart/2005/8/layout/hierarchy4"/>
    <dgm:cxn modelId="{1E0FC769-44ED-4A95-B204-A5C24D95C055}" type="presParOf" srcId="{7249E0FF-AED7-4F03-A2F4-2B6BEC3701B5}" destId="{14DB4DC8-05D3-40CB-B694-7EBF8B096912}" srcOrd="0" destOrd="0" presId="urn:microsoft.com/office/officeart/2005/8/layout/hierarchy4"/>
    <dgm:cxn modelId="{FB5DC90E-82AC-406F-8E90-E9651C01A05A}" type="presParOf" srcId="{7249E0FF-AED7-4F03-A2F4-2B6BEC3701B5}" destId="{A18D508F-C3C0-4F3B-89CC-67745A6AFC91}" srcOrd="1" destOrd="0" presId="urn:microsoft.com/office/officeart/2005/8/layout/hierarchy4"/>
    <dgm:cxn modelId="{FBD55A23-CF9E-483F-8381-970AB8B32522}" type="presParOf" srcId="{E6FF45DA-2B65-4CA3-B1B9-2EA6B24DADF8}" destId="{1882F2F3-536C-455D-B08A-AFB0AB5DEB00}" srcOrd="1" destOrd="0" presId="urn:microsoft.com/office/officeart/2005/8/layout/hierarchy4"/>
    <dgm:cxn modelId="{2A1F0DD3-4BB4-490D-B09E-7DF2B44829DA}" type="presParOf" srcId="{E6FF45DA-2B65-4CA3-B1B9-2EA6B24DADF8}" destId="{246757E1-FD97-4525-A8AB-C0F854E1C3AA}" srcOrd="2" destOrd="0" presId="urn:microsoft.com/office/officeart/2005/8/layout/hierarchy4"/>
    <dgm:cxn modelId="{098F9F07-0CF9-484B-8746-1A34E12D95E6}" type="presParOf" srcId="{246757E1-FD97-4525-A8AB-C0F854E1C3AA}" destId="{89011CE1-C17F-4C28-A972-5201A64D120B}" srcOrd="0" destOrd="0" presId="urn:microsoft.com/office/officeart/2005/8/layout/hierarchy4"/>
    <dgm:cxn modelId="{292DF1F1-4D1E-44DD-AF78-63A224B5CCCA}" type="presParOf" srcId="{246757E1-FD97-4525-A8AB-C0F854E1C3AA}" destId="{4B188BC7-B5F4-4BB7-AD0D-7A5A2C19BBCB}" srcOrd="1" destOrd="0" presId="urn:microsoft.com/office/officeart/2005/8/layout/hierarchy4"/>
    <dgm:cxn modelId="{BEC03CAA-31FB-4F4B-AC97-44E79BA3321B}" type="presParOf" srcId="{EEB711B1-0879-4BC9-A09C-01BB7A372E56}" destId="{2C425E4E-F7D6-4712-A52A-70C07242D3A6}" srcOrd="3" destOrd="0" presId="urn:microsoft.com/office/officeart/2005/8/layout/hierarchy4"/>
    <dgm:cxn modelId="{DD14EF6E-5D9D-4C3F-BC2F-85965FEA9431}" type="presParOf" srcId="{EEB711B1-0879-4BC9-A09C-01BB7A372E56}" destId="{4412F8DB-B612-4A3A-80ED-1F62D6FBEEB5}" srcOrd="4" destOrd="0" presId="urn:microsoft.com/office/officeart/2005/8/layout/hierarchy4"/>
    <dgm:cxn modelId="{0C38DFBF-373F-4656-962C-A072CA6144AD}" type="presParOf" srcId="{4412F8DB-B612-4A3A-80ED-1F62D6FBEEB5}" destId="{B7FDAAF0-7C1A-43C7-9C48-2DEBFFED7029}" srcOrd="0" destOrd="0" presId="urn:microsoft.com/office/officeart/2005/8/layout/hierarchy4"/>
    <dgm:cxn modelId="{DAB453BA-E629-4652-8F1C-A3A972BDA4A5}" type="presParOf" srcId="{4412F8DB-B612-4A3A-80ED-1F62D6FBEEB5}" destId="{1806DDC7-AAC5-4D6A-99C4-3090F2E74526}" srcOrd="1" destOrd="0" presId="urn:microsoft.com/office/officeart/2005/8/layout/hierarchy4"/>
    <dgm:cxn modelId="{C1A7C4D0-1552-4D82-969A-51EAA7CC0B70}" type="presParOf" srcId="{4412F8DB-B612-4A3A-80ED-1F62D6FBEEB5}" destId="{D3E75E40-CD64-4348-A743-7D8765B9660B}" srcOrd="2" destOrd="0" presId="urn:microsoft.com/office/officeart/2005/8/layout/hierarchy4"/>
    <dgm:cxn modelId="{CD32DF85-96F0-439D-B456-250D0865D1B1}" type="presParOf" srcId="{D3E75E40-CD64-4348-A743-7D8765B9660B}" destId="{1C2C6497-BE97-41EF-820C-B1CE11638D92}" srcOrd="0" destOrd="0" presId="urn:microsoft.com/office/officeart/2005/8/layout/hierarchy4"/>
    <dgm:cxn modelId="{AA97D5A8-C7C9-4F4D-B80E-013599E18606}" type="presParOf" srcId="{1C2C6497-BE97-41EF-820C-B1CE11638D92}" destId="{E4A3C917-7B0D-466C-9D51-0E17BFE3E371}" srcOrd="0" destOrd="0" presId="urn:microsoft.com/office/officeart/2005/8/layout/hierarchy4"/>
    <dgm:cxn modelId="{14F90BB8-E519-47ED-B00C-0C109F90A1A3}" type="presParOf" srcId="{1C2C6497-BE97-41EF-820C-B1CE11638D92}" destId="{C19A813D-09D4-493B-9791-E11EBE12533C}" srcOrd="1" destOrd="0" presId="urn:microsoft.com/office/officeart/2005/8/layout/hierarchy4"/>
    <dgm:cxn modelId="{46A40AA7-64DC-40D7-A1F7-9CE97B1CA6A4}" type="presParOf" srcId="{D3E75E40-CD64-4348-A743-7D8765B9660B}" destId="{AC3ADF82-3997-46E3-A031-2AD2BB177E1A}" srcOrd="1" destOrd="0" presId="urn:microsoft.com/office/officeart/2005/8/layout/hierarchy4"/>
    <dgm:cxn modelId="{07D9ABE3-E763-4028-AC54-2D68DAE8DD6C}" type="presParOf" srcId="{D3E75E40-CD64-4348-A743-7D8765B9660B}" destId="{6C21B870-CC3D-4F08-BC63-B9664C4430B5}" srcOrd="2" destOrd="0" presId="urn:microsoft.com/office/officeart/2005/8/layout/hierarchy4"/>
    <dgm:cxn modelId="{63A1A3A3-82C9-4F45-BB45-6F507CBDDABB}" type="presParOf" srcId="{6C21B870-CC3D-4F08-BC63-B9664C4430B5}" destId="{5A50E64D-62D2-43C0-8915-6020F2A8B2F6}" srcOrd="0" destOrd="0" presId="urn:microsoft.com/office/officeart/2005/8/layout/hierarchy4"/>
    <dgm:cxn modelId="{5F42D921-87E7-4D75-9526-7CA2A9E5FB92}" type="presParOf" srcId="{6C21B870-CC3D-4F08-BC63-B9664C4430B5}" destId="{A3E339AF-6B32-4ECF-ACCE-E498AEEDA444}"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157B2-A005-442A-82C4-D7BB9F4B9FAA}">
      <dsp:nvSpPr>
        <dsp:cNvPr id="0" name=""/>
        <dsp:cNvSpPr/>
      </dsp:nvSpPr>
      <dsp:spPr>
        <a:xfrm>
          <a:off x="4042" y="1580733"/>
          <a:ext cx="1838086" cy="820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GB" sz="1900" kern="1200" dirty="0"/>
            <a:t>Identify</a:t>
          </a:r>
        </a:p>
      </dsp:txBody>
      <dsp:txXfrm>
        <a:off x="4042" y="1580733"/>
        <a:ext cx="1838086" cy="547200"/>
      </dsp:txXfrm>
    </dsp:sp>
    <dsp:sp modelId="{3E04414B-E546-445C-9302-4DFD44F51DCB}">
      <dsp:nvSpPr>
        <dsp:cNvPr id="0" name=""/>
        <dsp:cNvSpPr/>
      </dsp:nvSpPr>
      <dsp:spPr>
        <a:xfrm>
          <a:off x="380518" y="2127933"/>
          <a:ext cx="1838086" cy="171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Active surveillance and identifying the infected</a:t>
          </a:r>
        </a:p>
      </dsp:txBody>
      <dsp:txXfrm>
        <a:off x="430602" y="2178017"/>
        <a:ext cx="1737918" cy="1609832"/>
      </dsp:txXfrm>
    </dsp:sp>
    <dsp:sp modelId="{7B364501-6B61-4124-8975-C49BAD11259C}">
      <dsp:nvSpPr>
        <dsp:cNvPr id="0" name=""/>
        <dsp:cNvSpPr/>
      </dsp:nvSpPr>
      <dsp:spPr>
        <a:xfrm>
          <a:off x="2120776" y="1625518"/>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2120776" y="1717044"/>
        <a:ext cx="453443" cy="274578"/>
      </dsp:txXfrm>
    </dsp:sp>
    <dsp:sp modelId="{131E5D29-3150-4400-BE31-42025CD714E1}">
      <dsp:nvSpPr>
        <dsp:cNvPr id="0" name=""/>
        <dsp:cNvSpPr/>
      </dsp:nvSpPr>
      <dsp:spPr>
        <a:xfrm>
          <a:off x="2956718" y="1580733"/>
          <a:ext cx="1838086" cy="820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GB" sz="1900" kern="1200" dirty="0"/>
            <a:t>Isolate</a:t>
          </a:r>
        </a:p>
      </dsp:txBody>
      <dsp:txXfrm>
        <a:off x="2956718" y="1580733"/>
        <a:ext cx="1838086" cy="547200"/>
      </dsp:txXfrm>
    </dsp:sp>
    <dsp:sp modelId="{A13F5EF9-557F-4CE9-A102-D2AED3BE89C5}">
      <dsp:nvSpPr>
        <dsp:cNvPr id="0" name=""/>
        <dsp:cNvSpPr/>
      </dsp:nvSpPr>
      <dsp:spPr>
        <a:xfrm>
          <a:off x="3333194" y="2127933"/>
          <a:ext cx="1838086" cy="171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Isolate the infected from others</a:t>
          </a:r>
        </a:p>
      </dsp:txBody>
      <dsp:txXfrm>
        <a:off x="3383278" y="2178017"/>
        <a:ext cx="1737918" cy="1609832"/>
      </dsp:txXfrm>
    </dsp:sp>
    <dsp:sp modelId="{E30B66FF-D6F2-4483-A57A-DD632D83C458}">
      <dsp:nvSpPr>
        <dsp:cNvPr id="0" name=""/>
        <dsp:cNvSpPr/>
      </dsp:nvSpPr>
      <dsp:spPr>
        <a:xfrm>
          <a:off x="5073452" y="1625518"/>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5073452" y="1717044"/>
        <a:ext cx="453443" cy="274578"/>
      </dsp:txXfrm>
    </dsp:sp>
    <dsp:sp modelId="{0EDEBD6F-B588-4812-A6F5-26EF688F447F}">
      <dsp:nvSpPr>
        <dsp:cNvPr id="0" name=""/>
        <dsp:cNvSpPr/>
      </dsp:nvSpPr>
      <dsp:spPr>
        <a:xfrm>
          <a:off x="5909394" y="1580733"/>
          <a:ext cx="1838086" cy="8208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GB" sz="1900" kern="1200" dirty="0"/>
            <a:t>Quarantine</a:t>
          </a:r>
        </a:p>
      </dsp:txBody>
      <dsp:txXfrm>
        <a:off x="5909394" y="1580733"/>
        <a:ext cx="1838086" cy="547200"/>
      </dsp:txXfrm>
    </dsp:sp>
    <dsp:sp modelId="{24BEF3FC-F2E7-4209-9385-5B99C50BD6AF}">
      <dsp:nvSpPr>
        <dsp:cNvPr id="0" name=""/>
        <dsp:cNvSpPr/>
      </dsp:nvSpPr>
      <dsp:spPr>
        <a:xfrm>
          <a:off x="6285870" y="2127933"/>
          <a:ext cx="1838086" cy="171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Partial and complete lockdown</a:t>
          </a:r>
        </a:p>
      </dsp:txBody>
      <dsp:txXfrm>
        <a:off x="6335954" y="2178017"/>
        <a:ext cx="1737918" cy="16098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157B2-A005-442A-82C4-D7BB9F4B9FAA}">
      <dsp:nvSpPr>
        <dsp:cNvPr id="0" name=""/>
        <dsp:cNvSpPr/>
      </dsp:nvSpPr>
      <dsp:spPr>
        <a:xfrm>
          <a:off x="3170" y="1145325"/>
          <a:ext cx="1441380"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GB" sz="1500" kern="1200" dirty="0"/>
            <a:t>Identify</a:t>
          </a:r>
        </a:p>
      </dsp:txBody>
      <dsp:txXfrm>
        <a:off x="3170" y="1145325"/>
        <a:ext cx="1441380" cy="432000"/>
      </dsp:txXfrm>
    </dsp:sp>
    <dsp:sp modelId="{3E04414B-E546-445C-9302-4DFD44F51DCB}">
      <dsp:nvSpPr>
        <dsp:cNvPr id="0" name=""/>
        <dsp:cNvSpPr/>
      </dsp:nvSpPr>
      <dsp:spPr>
        <a:xfrm>
          <a:off x="298392" y="1577325"/>
          <a:ext cx="1441380" cy="135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GB" sz="1500" kern="1200" dirty="0"/>
            <a:t>Active surveillance and identifying the infected</a:t>
          </a:r>
        </a:p>
      </dsp:txBody>
      <dsp:txXfrm>
        <a:off x="337932" y="1616865"/>
        <a:ext cx="1362300" cy="1270920"/>
      </dsp:txXfrm>
    </dsp:sp>
    <dsp:sp modelId="{7B364501-6B61-4124-8975-C49BAD11259C}">
      <dsp:nvSpPr>
        <dsp:cNvPr id="0" name=""/>
        <dsp:cNvSpPr/>
      </dsp:nvSpPr>
      <dsp:spPr>
        <a:xfrm>
          <a:off x="1663058" y="1181894"/>
          <a:ext cx="463237" cy="35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1663058" y="1253666"/>
        <a:ext cx="355578" cy="215318"/>
      </dsp:txXfrm>
    </dsp:sp>
    <dsp:sp modelId="{131E5D29-3150-4400-BE31-42025CD714E1}">
      <dsp:nvSpPr>
        <dsp:cNvPr id="0" name=""/>
        <dsp:cNvSpPr/>
      </dsp:nvSpPr>
      <dsp:spPr>
        <a:xfrm>
          <a:off x="2318582" y="1145325"/>
          <a:ext cx="1441380"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GB" sz="1500" kern="1200" dirty="0"/>
            <a:t>Isolate</a:t>
          </a:r>
        </a:p>
      </dsp:txBody>
      <dsp:txXfrm>
        <a:off x="2318582" y="1145325"/>
        <a:ext cx="1441380" cy="432000"/>
      </dsp:txXfrm>
    </dsp:sp>
    <dsp:sp modelId="{A13F5EF9-557F-4CE9-A102-D2AED3BE89C5}">
      <dsp:nvSpPr>
        <dsp:cNvPr id="0" name=""/>
        <dsp:cNvSpPr/>
      </dsp:nvSpPr>
      <dsp:spPr>
        <a:xfrm>
          <a:off x="2613805" y="1577325"/>
          <a:ext cx="1441380" cy="135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GB" sz="1500" kern="1200" dirty="0"/>
            <a:t>Isolate the infected from others</a:t>
          </a:r>
        </a:p>
      </dsp:txBody>
      <dsp:txXfrm>
        <a:off x="2653345" y="1616865"/>
        <a:ext cx="1362300" cy="1270920"/>
      </dsp:txXfrm>
    </dsp:sp>
    <dsp:sp modelId="{E30B66FF-D6F2-4483-A57A-DD632D83C458}">
      <dsp:nvSpPr>
        <dsp:cNvPr id="0" name=""/>
        <dsp:cNvSpPr/>
      </dsp:nvSpPr>
      <dsp:spPr>
        <a:xfrm>
          <a:off x="3978471" y="1181894"/>
          <a:ext cx="463237" cy="35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3978471" y="1253666"/>
        <a:ext cx="355578" cy="215318"/>
      </dsp:txXfrm>
    </dsp:sp>
    <dsp:sp modelId="{0EDEBD6F-B588-4812-A6F5-26EF688F447F}">
      <dsp:nvSpPr>
        <dsp:cNvPr id="0" name=""/>
        <dsp:cNvSpPr/>
      </dsp:nvSpPr>
      <dsp:spPr>
        <a:xfrm>
          <a:off x="4633995" y="1145325"/>
          <a:ext cx="1441380"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GB" sz="1500" kern="1200" dirty="0"/>
            <a:t>Quarantine</a:t>
          </a:r>
        </a:p>
      </dsp:txBody>
      <dsp:txXfrm>
        <a:off x="4633995" y="1145325"/>
        <a:ext cx="1441380" cy="432000"/>
      </dsp:txXfrm>
    </dsp:sp>
    <dsp:sp modelId="{24BEF3FC-F2E7-4209-9385-5B99C50BD6AF}">
      <dsp:nvSpPr>
        <dsp:cNvPr id="0" name=""/>
        <dsp:cNvSpPr/>
      </dsp:nvSpPr>
      <dsp:spPr>
        <a:xfrm>
          <a:off x="4929218" y="1577325"/>
          <a:ext cx="1441380" cy="135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GB" sz="1500" kern="1200" dirty="0"/>
            <a:t>Partial and complete lockdown</a:t>
          </a:r>
        </a:p>
      </dsp:txBody>
      <dsp:txXfrm>
        <a:off x="4968758" y="1616865"/>
        <a:ext cx="1362300" cy="12709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157B2-A005-442A-82C4-D7BB9F4B9FAA}">
      <dsp:nvSpPr>
        <dsp:cNvPr id="0" name=""/>
        <dsp:cNvSpPr/>
      </dsp:nvSpPr>
      <dsp:spPr>
        <a:xfrm>
          <a:off x="2644"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Identify</a:t>
          </a:r>
        </a:p>
      </dsp:txBody>
      <dsp:txXfrm>
        <a:off x="2644" y="865648"/>
        <a:ext cx="1202378" cy="374400"/>
      </dsp:txXfrm>
    </dsp:sp>
    <dsp:sp modelId="{3E04414B-E546-445C-9302-4DFD44F51DCB}">
      <dsp:nvSpPr>
        <dsp:cNvPr id="0" name=""/>
        <dsp:cNvSpPr/>
      </dsp:nvSpPr>
      <dsp:spPr>
        <a:xfrm>
          <a:off x="248914"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Active surveillance and identifying the infected</a:t>
          </a:r>
        </a:p>
      </dsp:txBody>
      <dsp:txXfrm>
        <a:off x="283182" y="1274316"/>
        <a:ext cx="1133842" cy="1101464"/>
      </dsp:txXfrm>
    </dsp:sp>
    <dsp:sp modelId="{7B364501-6B61-4124-8975-C49BAD11259C}">
      <dsp:nvSpPr>
        <dsp:cNvPr id="0" name=""/>
        <dsp:cNvSpPr/>
      </dsp:nvSpPr>
      <dsp:spPr>
        <a:xfrm>
          <a:off x="1387299" y="903169"/>
          <a:ext cx="386425" cy="2993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1387299" y="963040"/>
        <a:ext cx="296618" cy="179615"/>
      </dsp:txXfrm>
    </dsp:sp>
    <dsp:sp modelId="{131E5D29-3150-4400-BE31-42025CD714E1}">
      <dsp:nvSpPr>
        <dsp:cNvPr id="0" name=""/>
        <dsp:cNvSpPr/>
      </dsp:nvSpPr>
      <dsp:spPr>
        <a:xfrm>
          <a:off x="1934127"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Isolate</a:t>
          </a:r>
        </a:p>
      </dsp:txBody>
      <dsp:txXfrm>
        <a:off x="1934127" y="865648"/>
        <a:ext cx="1202378" cy="374400"/>
      </dsp:txXfrm>
    </dsp:sp>
    <dsp:sp modelId="{A13F5EF9-557F-4CE9-A102-D2AED3BE89C5}">
      <dsp:nvSpPr>
        <dsp:cNvPr id="0" name=""/>
        <dsp:cNvSpPr/>
      </dsp:nvSpPr>
      <dsp:spPr>
        <a:xfrm>
          <a:off x="2180397"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Isolate the infected from others</a:t>
          </a:r>
        </a:p>
      </dsp:txBody>
      <dsp:txXfrm>
        <a:off x="2214665" y="1274316"/>
        <a:ext cx="1133842" cy="1101464"/>
      </dsp:txXfrm>
    </dsp:sp>
    <dsp:sp modelId="{E30B66FF-D6F2-4483-A57A-DD632D83C458}">
      <dsp:nvSpPr>
        <dsp:cNvPr id="0" name=""/>
        <dsp:cNvSpPr/>
      </dsp:nvSpPr>
      <dsp:spPr>
        <a:xfrm>
          <a:off x="3318782" y="903169"/>
          <a:ext cx="386425" cy="2993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3318782" y="963040"/>
        <a:ext cx="296618" cy="179615"/>
      </dsp:txXfrm>
    </dsp:sp>
    <dsp:sp modelId="{0EDEBD6F-B588-4812-A6F5-26EF688F447F}">
      <dsp:nvSpPr>
        <dsp:cNvPr id="0" name=""/>
        <dsp:cNvSpPr/>
      </dsp:nvSpPr>
      <dsp:spPr>
        <a:xfrm>
          <a:off x="3865610"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Quarantine</a:t>
          </a:r>
        </a:p>
      </dsp:txBody>
      <dsp:txXfrm>
        <a:off x="3865610" y="865648"/>
        <a:ext cx="1202378" cy="374400"/>
      </dsp:txXfrm>
    </dsp:sp>
    <dsp:sp modelId="{24BEF3FC-F2E7-4209-9385-5B99C50BD6AF}">
      <dsp:nvSpPr>
        <dsp:cNvPr id="0" name=""/>
        <dsp:cNvSpPr/>
      </dsp:nvSpPr>
      <dsp:spPr>
        <a:xfrm>
          <a:off x="4111881"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Partial and complete lockdown</a:t>
          </a:r>
        </a:p>
      </dsp:txBody>
      <dsp:txXfrm>
        <a:off x="4146149" y="1274316"/>
        <a:ext cx="1133842" cy="11014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58C5C-A0E0-4F98-83FB-778026992FA6}">
      <dsp:nvSpPr>
        <dsp:cNvPr id="0" name=""/>
        <dsp:cNvSpPr/>
      </dsp:nvSpPr>
      <dsp:spPr>
        <a:xfrm>
          <a:off x="2116" y="2174875"/>
          <a:ext cx="2137833" cy="106891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a:t>Social distancing and lockdown </a:t>
          </a:r>
        </a:p>
      </dsp:txBody>
      <dsp:txXfrm>
        <a:off x="33423" y="2206182"/>
        <a:ext cx="2075219" cy="1006302"/>
      </dsp:txXfrm>
    </dsp:sp>
    <dsp:sp modelId="{2F4733A3-C5A1-4FF5-943E-96998F582554}">
      <dsp:nvSpPr>
        <dsp:cNvPr id="0" name=""/>
        <dsp:cNvSpPr/>
      </dsp:nvSpPr>
      <dsp:spPr>
        <a:xfrm rot="19457599">
          <a:off x="2040966" y="2384266"/>
          <a:ext cx="1053099" cy="35507"/>
        </a:xfrm>
        <a:custGeom>
          <a:avLst/>
          <a:gdLst/>
          <a:ahLst/>
          <a:cxnLst/>
          <a:rect l="0" t="0" r="0" b="0"/>
          <a:pathLst>
            <a:path>
              <a:moveTo>
                <a:pt x="0" y="17753"/>
              </a:moveTo>
              <a:lnTo>
                <a:pt x="1053099" y="177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2541189" y="2375692"/>
        <a:ext cx="52654" cy="52654"/>
      </dsp:txXfrm>
    </dsp:sp>
    <dsp:sp modelId="{BAFA7563-55A1-43B3-AB91-C7FB79DCC721}">
      <dsp:nvSpPr>
        <dsp:cNvPr id="0" name=""/>
        <dsp:cNvSpPr/>
      </dsp:nvSpPr>
      <dsp:spPr>
        <a:xfrm>
          <a:off x="2995083" y="1560248"/>
          <a:ext cx="2137833" cy="106891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a:t>Smart Working</a:t>
          </a:r>
        </a:p>
      </dsp:txBody>
      <dsp:txXfrm>
        <a:off x="3026390" y="1591555"/>
        <a:ext cx="2075219" cy="1006302"/>
      </dsp:txXfrm>
    </dsp:sp>
    <dsp:sp modelId="{E3870A40-E0AD-46C2-8447-A355C1CA0015}">
      <dsp:nvSpPr>
        <dsp:cNvPr id="0" name=""/>
        <dsp:cNvSpPr/>
      </dsp:nvSpPr>
      <dsp:spPr>
        <a:xfrm>
          <a:off x="5132916" y="2076952"/>
          <a:ext cx="855133" cy="35507"/>
        </a:xfrm>
        <a:custGeom>
          <a:avLst/>
          <a:gdLst/>
          <a:ahLst/>
          <a:cxnLst/>
          <a:rect l="0" t="0" r="0" b="0"/>
          <a:pathLst>
            <a:path>
              <a:moveTo>
                <a:pt x="0" y="17753"/>
              </a:moveTo>
              <a:lnTo>
                <a:pt x="855133" y="1775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5539105" y="2073328"/>
        <a:ext cx="42756" cy="42756"/>
      </dsp:txXfrm>
    </dsp:sp>
    <dsp:sp modelId="{6C573763-D995-46B6-9EAA-8C9240C69B5D}">
      <dsp:nvSpPr>
        <dsp:cNvPr id="0" name=""/>
        <dsp:cNvSpPr/>
      </dsp:nvSpPr>
      <dsp:spPr>
        <a:xfrm>
          <a:off x="5988050" y="1560248"/>
          <a:ext cx="2137833" cy="106891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a:t>Different forms of smart working</a:t>
          </a:r>
        </a:p>
      </dsp:txBody>
      <dsp:txXfrm>
        <a:off x="6019357" y="1591555"/>
        <a:ext cx="2075219" cy="1006302"/>
      </dsp:txXfrm>
    </dsp:sp>
    <dsp:sp modelId="{DC15F0A4-FF60-4D36-B341-87742F4F213A}">
      <dsp:nvSpPr>
        <dsp:cNvPr id="0" name=""/>
        <dsp:cNvSpPr/>
      </dsp:nvSpPr>
      <dsp:spPr>
        <a:xfrm rot="2142401">
          <a:off x="2040966" y="2998893"/>
          <a:ext cx="1053099" cy="35507"/>
        </a:xfrm>
        <a:custGeom>
          <a:avLst/>
          <a:gdLst/>
          <a:ahLst/>
          <a:cxnLst/>
          <a:rect l="0" t="0" r="0" b="0"/>
          <a:pathLst>
            <a:path>
              <a:moveTo>
                <a:pt x="0" y="17753"/>
              </a:moveTo>
              <a:lnTo>
                <a:pt x="1053099" y="177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2541189" y="2990319"/>
        <a:ext cx="52654" cy="52654"/>
      </dsp:txXfrm>
    </dsp:sp>
    <dsp:sp modelId="{6951CE57-97FC-4794-ABCC-16FF2D73FA69}">
      <dsp:nvSpPr>
        <dsp:cNvPr id="0" name=""/>
        <dsp:cNvSpPr/>
      </dsp:nvSpPr>
      <dsp:spPr>
        <a:xfrm>
          <a:off x="2995083" y="2789502"/>
          <a:ext cx="2137833" cy="106891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a:t>New non remote working scenarios</a:t>
          </a:r>
        </a:p>
      </dsp:txBody>
      <dsp:txXfrm>
        <a:off x="3026390" y="2820809"/>
        <a:ext cx="2075219" cy="10063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157B2-A005-442A-82C4-D7BB9F4B9FAA}">
      <dsp:nvSpPr>
        <dsp:cNvPr id="0" name=""/>
        <dsp:cNvSpPr/>
      </dsp:nvSpPr>
      <dsp:spPr>
        <a:xfrm>
          <a:off x="2644"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Identify</a:t>
          </a:r>
        </a:p>
      </dsp:txBody>
      <dsp:txXfrm>
        <a:off x="2644" y="865648"/>
        <a:ext cx="1202378" cy="374400"/>
      </dsp:txXfrm>
    </dsp:sp>
    <dsp:sp modelId="{3E04414B-E546-445C-9302-4DFD44F51DCB}">
      <dsp:nvSpPr>
        <dsp:cNvPr id="0" name=""/>
        <dsp:cNvSpPr/>
      </dsp:nvSpPr>
      <dsp:spPr>
        <a:xfrm>
          <a:off x="248914"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Active surveillance and identifying the infected</a:t>
          </a:r>
        </a:p>
      </dsp:txBody>
      <dsp:txXfrm>
        <a:off x="283182" y="1274316"/>
        <a:ext cx="1133842" cy="1101464"/>
      </dsp:txXfrm>
    </dsp:sp>
    <dsp:sp modelId="{7B364501-6B61-4124-8975-C49BAD11259C}">
      <dsp:nvSpPr>
        <dsp:cNvPr id="0" name=""/>
        <dsp:cNvSpPr/>
      </dsp:nvSpPr>
      <dsp:spPr>
        <a:xfrm>
          <a:off x="1387299" y="903169"/>
          <a:ext cx="386425" cy="2993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1387299" y="963040"/>
        <a:ext cx="296618" cy="179615"/>
      </dsp:txXfrm>
    </dsp:sp>
    <dsp:sp modelId="{131E5D29-3150-4400-BE31-42025CD714E1}">
      <dsp:nvSpPr>
        <dsp:cNvPr id="0" name=""/>
        <dsp:cNvSpPr/>
      </dsp:nvSpPr>
      <dsp:spPr>
        <a:xfrm>
          <a:off x="1934127"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Isolate</a:t>
          </a:r>
        </a:p>
      </dsp:txBody>
      <dsp:txXfrm>
        <a:off x="1934127" y="865648"/>
        <a:ext cx="1202378" cy="374400"/>
      </dsp:txXfrm>
    </dsp:sp>
    <dsp:sp modelId="{A13F5EF9-557F-4CE9-A102-D2AED3BE89C5}">
      <dsp:nvSpPr>
        <dsp:cNvPr id="0" name=""/>
        <dsp:cNvSpPr/>
      </dsp:nvSpPr>
      <dsp:spPr>
        <a:xfrm>
          <a:off x="2180397"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Isolate the infected from others</a:t>
          </a:r>
        </a:p>
      </dsp:txBody>
      <dsp:txXfrm>
        <a:off x="2214665" y="1274316"/>
        <a:ext cx="1133842" cy="1101464"/>
      </dsp:txXfrm>
    </dsp:sp>
    <dsp:sp modelId="{E30B66FF-D6F2-4483-A57A-DD632D83C458}">
      <dsp:nvSpPr>
        <dsp:cNvPr id="0" name=""/>
        <dsp:cNvSpPr/>
      </dsp:nvSpPr>
      <dsp:spPr>
        <a:xfrm>
          <a:off x="3318782" y="903169"/>
          <a:ext cx="386425" cy="2993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3318782" y="963040"/>
        <a:ext cx="296618" cy="179615"/>
      </dsp:txXfrm>
    </dsp:sp>
    <dsp:sp modelId="{0EDEBD6F-B588-4812-A6F5-26EF688F447F}">
      <dsp:nvSpPr>
        <dsp:cNvPr id="0" name=""/>
        <dsp:cNvSpPr/>
      </dsp:nvSpPr>
      <dsp:spPr>
        <a:xfrm>
          <a:off x="3865610" y="865648"/>
          <a:ext cx="1202378" cy="5616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GB" sz="1300" kern="1200" dirty="0"/>
            <a:t>Quarantine</a:t>
          </a:r>
        </a:p>
      </dsp:txBody>
      <dsp:txXfrm>
        <a:off x="3865610" y="865648"/>
        <a:ext cx="1202378" cy="374400"/>
      </dsp:txXfrm>
    </dsp:sp>
    <dsp:sp modelId="{24BEF3FC-F2E7-4209-9385-5B99C50BD6AF}">
      <dsp:nvSpPr>
        <dsp:cNvPr id="0" name=""/>
        <dsp:cNvSpPr/>
      </dsp:nvSpPr>
      <dsp:spPr>
        <a:xfrm>
          <a:off x="4111881" y="1240048"/>
          <a:ext cx="1202378" cy="1170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GB" sz="1300" kern="1200" dirty="0"/>
            <a:t>Partial and complete lockdown</a:t>
          </a:r>
        </a:p>
      </dsp:txBody>
      <dsp:txXfrm>
        <a:off x="4146149" y="1274316"/>
        <a:ext cx="1133842" cy="11014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58C5C-A0E0-4F98-83FB-778026992FA6}">
      <dsp:nvSpPr>
        <dsp:cNvPr id="0" name=""/>
        <dsp:cNvSpPr/>
      </dsp:nvSpPr>
      <dsp:spPr>
        <a:xfrm>
          <a:off x="259336" y="1489283"/>
          <a:ext cx="2586431" cy="12932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Social distancing and lockdown </a:t>
          </a:r>
        </a:p>
      </dsp:txBody>
      <dsp:txXfrm>
        <a:off x="297213" y="1527160"/>
        <a:ext cx="2510677" cy="1217461"/>
      </dsp:txXfrm>
    </dsp:sp>
    <dsp:sp modelId="{2F4733A3-C5A1-4FF5-943E-96998F582554}">
      <dsp:nvSpPr>
        <dsp:cNvPr id="0" name=""/>
        <dsp:cNvSpPr/>
      </dsp:nvSpPr>
      <dsp:spPr>
        <a:xfrm rot="18289469">
          <a:off x="2457225" y="1365046"/>
          <a:ext cx="1811656" cy="54492"/>
        </a:xfrm>
        <a:custGeom>
          <a:avLst/>
          <a:gdLst/>
          <a:ahLst/>
          <a:cxnLst/>
          <a:rect l="0" t="0" r="0" b="0"/>
          <a:pathLst>
            <a:path>
              <a:moveTo>
                <a:pt x="0" y="27246"/>
              </a:moveTo>
              <a:lnTo>
                <a:pt x="1811656" y="272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GB" sz="600" kern="1200"/>
        </a:p>
      </dsp:txBody>
      <dsp:txXfrm>
        <a:off x="3317762" y="1347001"/>
        <a:ext cx="90582" cy="90582"/>
      </dsp:txXfrm>
    </dsp:sp>
    <dsp:sp modelId="{BAFA7563-55A1-43B3-AB91-C7FB79DCC721}">
      <dsp:nvSpPr>
        <dsp:cNvPr id="0" name=""/>
        <dsp:cNvSpPr/>
      </dsp:nvSpPr>
      <dsp:spPr>
        <a:xfrm>
          <a:off x="3880340" y="2085"/>
          <a:ext cx="2586431" cy="12932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Remote activities (smart working, home schooling, food deliveries, entertainment)</a:t>
          </a:r>
        </a:p>
      </dsp:txBody>
      <dsp:txXfrm>
        <a:off x="3918217" y="39962"/>
        <a:ext cx="2510677" cy="1217461"/>
      </dsp:txXfrm>
    </dsp:sp>
    <dsp:sp modelId="{F61F5FBF-9AEC-4873-954A-6323C89215F9}">
      <dsp:nvSpPr>
        <dsp:cNvPr id="0" name=""/>
        <dsp:cNvSpPr/>
      </dsp:nvSpPr>
      <dsp:spPr>
        <a:xfrm rot="45154">
          <a:off x="2845724" y="2115260"/>
          <a:ext cx="1007243" cy="54492"/>
        </a:xfrm>
        <a:custGeom>
          <a:avLst/>
          <a:gdLst/>
          <a:ahLst/>
          <a:cxnLst/>
          <a:rect l="0" t="0" r="0" b="0"/>
          <a:pathLst>
            <a:path>
              <a:moveTo>
                <a:pt x="0" y="27246"/>
              </a:moveTo>
              <a:lnTo>
                <a:pt x="1007243" y="272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324164" y="2117325"/>
        <a:ext cx="50362" cy="50362"/>
      </dsp:txXfrm>
    </dsp:sp>
    <dsp:sp modelId="{57489D06-E1C4-40BB-AAF3-495EE9030F31}">
      <dsp:nvSpPr>
        <dsp:cNvPr id="0" name=""/>
        <dsp:cNvSpPr/>
      </dsp:nvSpPr>
      <dsp:spPr>
        <a:xfrm>
          <a:off x="3852924" y="1502513"/>
          <a:ext cx="2586431" cy="12932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Decreasing levels of pollutants</a:t>
          </a:r>
        </a:p>
      </dsp:txBody>
      <dsp:txXfrm>
        <a:off x="3890801" y="1540390"/>
        <a:ext cx="2510677" cy="1217461"/>
      </dsp:txXfrm>
    </dsp:sp>
    <dsp:sp modelId="{DC15F0A4-FF60-4D36-B341-87742F4F213A}">
      <dsp:nvSpPr>
        <dsp:cNvPr id="0" name=""/>
        <dsp:cNvSpPr/>
      </dsp:nvSpPr>
      <dsp:spPr>
        <a:xfrm rot="3310531">
          <a:off x="2457225" y="2852244"/>
          <a:ext cx="1811656" cy="54492"/>
        </a:xfrm>
        <a:custGeom>
          <a:avLst/>
          <a:gdLst/>
          <a:ahLst/>
          <a:cxnLst/>
          <a:rect l="0" t="0" r="0" b="0"/>
          <a:pathLst>
            <a:path>
              <a:moveTo>
                <a:pt x="0" y="27246"/>
              </a:moveTo>
              <a:lnTo>
                <a:pt x="1811656" y="272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GB" sz="600" kern="1200"/>
        </a:p>
      </dsp:txBody>
      <dsp:txXfrm>
        <a:off x="3317762" y="2834199"/>
        <a:ext cx="90582" cy="90582"/>
      </dsp:txXfrm>
    </dsp:sp>
    <dsp:sp modelId="{6951CE57-97FC-4794-ABCC-16FF2D73FA69}">
      <dsp:nvSpPr>
        <dsp:cNvPr id="0" name=""/>
        <dsp:cNvSpPr/>
      </dsp:nvSpPr>
      <dsp:spPr>
        <a:xfrm>
          <a:off x="3880340" y="2976481"/>
          <a:ext cx="2586431" cy="12932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Elderly and people in need remote assistance and care</a:t>
          </a:r>
        </a:p>
      </dsp:txBody>
      <dsp:txXfrm>
        <a:off x="3918217" y="3014358"/>
        <a:ext cx="2510677" cy="12174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A918D2-BBF1-4786-8C5F-9375807430BF}">
      <dsp:nvSpPr>
        <dsp:cNvPr id="0" name=""/>
        <dsp:cNvSpPr/>
      </dsp:nvSpPr>
      <dsp:spPr>
        <a:xfrm rot="5400000">
          <a:off x="-651042" y="651042"/>
          <a:ext cx="4340283" cy="303819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t>Smart Working is the opportunity to accelerate digital transformation in organisations supporting them in living phase 2 and beyond</a:t>
          </a:r>
        </a:p>
      </dsp:txBody>
      <dsp:txXfrm rot="-5400000">
        <a:off x="1" y="1519098"/>
        <a:ext cx="3038198" cy="1302085"/>
      </dsp:txXfrm>
    </dsp:sp>
    <dsp:sp modelId="{5153662A-9B82-4B97-B01B-A3A9947976EB}">
      <dsp:nvSpPr>
        <dsp:cNvPr id="0" name=""/>
        <dsp:cNvSpPr/>
      </dsp:nvSpPr>
      <dsp:spPr>
        <a:xfrm rot="5400000">
          <a:off x="5366307" y="-2328108"/>
          <a:ext cx="2821183" cy="747740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Char char="•"/>
          </a:pPr>
          <a:r>
            <a:rPr lang="en-GB" sz="2800" kern="1200" dirty="0"/>
            <a:t>The opportunity of running remotely routinized and creative working tasks</a:t>
          </a:r>
        </a:p>
        <a:p>
          <a:pPr marL="285750" lvl="1" indent="-285750" algn="l" defTabSz="1244600">
            <a:lnSpc>
              <a:spcPct val="90000"/>
            </a:lnSpc>
            <a:spcBef>
              <a:spcPct val="0"/>
            </a:spcBef>
            <a:spcAft>
              <a:spcPct val="15000"/>
            </a:spcAft>
            <a:buChar char="•"/>
          </a:pPr>
          <a:r>
            <a:rPr lang="en-GB" sz="2800" kern="1200" dirty="0"/>
            <a:t>The opportunity of remotely monitoring and controlling machines and assets</a:t>
          </a:r>
        </a:p>
        <a:p>
          <a:pPr marL="285750" lvl="1" indent="-285750" algn="l" defTabSz="1244600">
            <a:lnSpc>
              <a:spcPct val="90000"/>
            </a:lnSpc>
            <a:spcBef>
              <a:spcPct val="0"/>
            </a:spcBef>
            <a:spcAft>
              <a:spcPct val="15000"/>
            </a:spcAft>
            <a:buChar char="•"/>
          </a:pPr>
          <a:r>
            <a:rPr lang="en-GB" sz="2800" kern="1200" dirty="0"/>
            <a:t>The opportunity of creating remote human-machine interactions</a:t>
          </a:r>
        </a:p>
      </dsp:txBody>
      <dsp:txXfrm rot="-5400000">
        <a:off x="3038199" y="137719"/>
        <a:ext cx="7339682" cy="25457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FDEB90-F4A4-44D0-827E-40934957452E}">
      <dsp:nvSpPr>
        <dsp:cNvPr id="0" name=""/>
        <dsp:cNvSpPr/>
      </dsp:nvSpPr>
      <dsp:spPr>
        <a:xfrm>
          <a:off x="3175" y="835"/>
          <a:ext cx="4912719" cy="2005493"/>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kern="1200" dirty="0"/>
            <a:t>Industry 4.0</a:t>
          </a:r>
        </a:p>
      </dsp:txBody>
      <dsp:txXfrm>
        <a:off x="61914" y="59574"/>
        <a:ext cx="4795241" cy="1888015"/>
      </dsp:txXfrm>
    </dsp:sp>
    <dsp:sp modelId="{D75305AD-224D-4B05-AB07-B12033DA4FCA}">
      <dsp:nvSpPr>
        <dsp:cNvPr id="0" name=""/>
        <dsp:cNvSpPr/>
      </dsp:nvSpPr>
      <dsp:spPr>
        <a:xfrm>
          <a:off x="3175" y="2272056"/>
          <a:ext cx="1155390" cy="2005493"/>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Arial" panose="020B0604020202020204" pitchFamily="34" charset="0"/>
            <a:buNone/>
          </a:pPr>
          <a:r>
            <a:rPr lang="en-GB" sz="1200" kern="1200" dirty="0"/>
            <a:t>Remote and real-time visibility of resources and activities</a:t>
          </a:r>
        </a:p>
      </dsp:txBody>
      <dsp:txXfrm>
        <a:off x="37015" y="2305896"/>
        <a:ext cx="1087710" cy="1937813"/>
      </dsp:txXfrm>
    </dsp:sp>
    <dsp:sp modelId="{160C0C0D-4F70-46CB-8EB8-AEDBEA466051}">
      <dsp:nvSpPr>
        <dsp:cNvPr id="0" name=""/>
        <dsp:cNvSpPr/>
      </dsp:nvSpPr>
      <dsp:spPr>
        <a:xfrm>
          <a:off x="1255618" y="2272056"/>
          <a:ext cx="1155390" cy="2005493"/>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Arial" panose="020B0604020202020204" pitchFamily="34" charset="0"/>
            <a:buNone/>
          </a:pPr>
          <a:r>
            <a:rPr lang="en-GB" sz="1200" kern="1200" dirty="0"/>
            <a:t>3D printing for spare parts and smart contract-based exchange</a:t>
          </a:r>
        </a:p>
      </dsp:txBody>
      <dsp:txXfrm>
        <a:off x="1289458" y="2305896"/>
        <a:ext cx="1087710" cy="1937813"/>
      </dsp:txXfrm>
    </dsp:sp>
    <dsp:sp modelId="{ACE1E0AA-865E-43C5-869A-4E81D6C408FE}">
      <dsp:nvSpPr>
        <dsp:cNvPr id="0" name=""/>
        <dsp:cNvSpPr/>
      </dsp:nvSpPr>
      <dsp:spPr>
        <a:xfrm>
          <a:off x="2508061" y="2272056"/>
          <a:ext cx="1155390" cy="2005493"/>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en-GB" sz="1200" kern="1200" dirty="0"/>
            <a:t>Immersive realities for remote control of machines</a:t>
          </a:r>
        </a:p>
      </dsp:txBody>
      <dsp:txXfrm>
        <a:off x="2541901" y="2305896"/>
        <a:ext cx="1087710" cy="1937813"/>
      </dsp:txXfrm>
    </dsp:sp>
    <dsp:sp modelId="{D16FB369-0B6A-4611-9D0A-E45982C33497}">
      <dsp:nvSpPr>
        <dsp:cNvPr id="0" name=""/>
        <dsp:cNvSpPr/>
      </dsp:nvSpPr>
      <dsp:spPr>
        <a:xfrm>
          <a:off x="3760505" y="2272056"/>
          <a:ext cx="1155390" cy="2005493"/>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en-GB" sz="1200" kern="1200" dirty="0"/>
            <a:t>AI for assessing status and predicting conditions </a:t>
          </a:r>
        </a:p>
      </dsp:txBody>
      <dsp:txXfrm>
        <a:off x="3794345" y="2305896"/>
        <a:ext cx="1087710" cy="1937813"/>
      </dsp:txXfrm>
    </dsp:sp>
    <dsp:sp modelId="{0AA0D7C4-09BC-4981-B1BC-4F2D3AEB6D94}">
      <dsp:nvSpPr>
        <dsp:cNvPr id="0" name=""/>
        <dsp:cNvSpPr/>
      </dsp:nvSpPr>
      <dsp:spPr>
        <a:xfrm>
          <a:off x="5110000" y="835"/>
          <a:ext cx="2407833" cy="2005493"/>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kern="1200" dirty="0"/>
            <a:t>Tourism</a:t>
          </a:r>
        </a:p>
      </dsp:txBody>
      <dsp:txXfrm>
        <a:off x="5168739" y="59574"/>
        <a:ext cx="2290355" cy="1888015"/>
      </dsp:txXfrm>
    </dsp:sp>
    <dsp:sp modelId="{14DB4DC8-05D3-40CB-B694-7EBF8B096912}">
      <dsp:nvSpPr>
        <dsp:cNvPr id="0" name=""/>
        <dsp:cNvSpPr/>
      </dsp:nvSpPr>
      <dsp:spPr>
        <a:xfrm>
          <a:off x="5110000" y="2272056"/>
          <a:ext cx="1155390" cy="2005493"/>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Immersive realities (VR) for marketing</a:t>
          </a:r>
        </a:p>
      </dsp:txBody>
      <dsp:txXfrm>
        <a:off x="5143840" y="2305896"/>
        <a:ext cx="1087710" cy="1937813"/>
      </dsp:txXfrm>
    </dsp:sp>
    <dsp:sp modelId="{89011CE1-C17F-4C28-A972-5201A64D120B}">
      <dsp:nvSpPr>
        <dsp:cNvPr id="0" name=""/>
        <dsp:cNvSpPr/>
      </dsp:nvSpPr>
      <dsp:spPr>
        <a:xfrm>
          <a:off x="6362443" y="2272056"/>
          <a:ext cx="1155390" cy="2005493"/>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Drones for social distancing monitoring</a:t>
          </a:r>
        </a:p>
      </dsp:txBody>
      <dsp:txXfrm>
        <a:off x="6396283" y="2305896"/>
        <a:ext cx="1087710" cy="1937813"/>
      </dsp:txXfrm>
    </dsp:sp>
    <dsp:sp modelId="{B7FDAAF0-7C1A-43C7-9C48-2DEBFFED7029}">
      <dsp:nvSpPr>
        <dsp:cNvPr id="0" name=""/>
        <dsp:cNvSpPr/>
      </dsp:nvSpPr>
      <dsp:spPr>
        <a:xfrm>
          <a:off x="7711939" y="835"/>
          <a:ext cx="2407833" cy="20054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kern="1200" dirty="0"/>
            <a:t>Elderly and people in need</a:t>
          </a:r>
        </a:p>
      </dsp:txBody>
      <dsp:txXfrm>
        <a:off x="7770678" y="59574"/>
        <a:ext cx="2290355" cy="1888015"/>
      </dsp:txXfrm>
    </dsp:sp>
    <dsp:sp modelId="{E4A3C917-7B0D-466C-9D51-0E17BFE3E371}">
      <dsp:nvSpPr>
        <dsp:cNvPr id="0" name=""/>
        <dsp:cNvSpPr/>
      </dsp:nvSpPr>
      <dsp:spPr>
        <a:xfrm>
          <a:off x="7711939" y="2272056"/>
          <a:ext cx="1155390" cy="20054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Re-thinking home caring through smart buildings/smart home solutions</a:t>
          </a:r>
        </a:p>
      </dsp:txBody>
      <dsp:txXfrm>
        <a:off x="7745779" y="2305896"/>
        <a:ext cx="1087710" cy="1937813"/>
      </dsp:txXfrm>
    </dsp:sp>
    <dsp:sp modelId="{5A50E64D-62D2-43C0-8915-6020F2A8B2F6}">
      <dsp:nvSpPr>
        <dsp:cNvPr id="0" name=""/>
        <dsp:cNvSpPr/>
      </dsp:nvSpPr>
      <dsp:spPr>
        <a:xfrm>
          <a:off x="8964382" y="2272056"/>
          <a:ext cx="1155390" cy="20054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Ambient and assisted living solutions for patients and carers </a:t>
          </a:r>
        </a:p>
      </dsp:txBody>
      <dsp:txXfrm>
        <a:off x="8998222" y="2305896"/>
        <a:ext cx="1087710" cy="1937813"/>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B583294-8B11-48B1-94F7-E5DB19C6903C}" type="datetimeFigureOut">
              <a:rPr lang="en-GB" smtClean="0"/>
              <a:t>24/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23289171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B583294-8B11-48B1-94F7-E5DB19C6903C}" type="datetimeFigureOut">
              <a:rPr lang="en-GB" smtClean="0"/>
              <a:t>24/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4233583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B583294-8B11-48B1-94F7-E5DB19C6903C}" type="datetimeFigureOut">
              <a:rPr lang="en-GB" smtClean="0"/>
              <a:t>24/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1804192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B583294-8B11-48B1-94F7-E5DB19C6903C}" type="datetimeFigureOut">
              <a:rPr lang="en-GB" smtClean="0"/>
              <a:t>24/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3409479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B583294-8B11-48B1-94F7-E5DB19C6903C}" type="datetimeFigureOut">
              <a:rPr lang="en-GB" smtClean="0"/>
              <a:t>24/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1495895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B583294-8B11-48B1-94F7-E5DB19C6903C}" type="datetimeFigureOut">
              <a:rPr lang="en-GB" smtClean="0"/>
              <a:t>24/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1620248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B583294-8B11-48B1-94F7-E5DB19C6903C}" type="datetimeFigureOut">
              <a:rPr lang="en-GB" smtClean="0"/>
              <a:t>24/05/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701229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B583294-8B11-48B1-94F7-E5DB19C6903C}" type="datetimeFigureOut">
              <a:rPr lang="en-GB" smtClean="0"/>
              <a:t>24/05/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3947722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583294-8B11-48B1-94F7-E5DB19C6903C}" type="datetimeFigureOut">
              <a:rPr lang="en-GB" smtClean="0"/>
              <a:t>24/05/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3315778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583294-8B11-48B1-94F7-E5DB19C6903C}" type="datetimeFigureOut">
              <a:rPr lang="en-GB" smtClean="0"/>
              <a:t>24/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19829044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583294-8B11-48B1-94F7-E5DB19C6903C}" type="datetimeFigureOut">
              <a:rPr lang="en-GB" smtClean="0"/>
              <a:t>24/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2D421DF-B6F3-4CC4-BA09-F610BC65E3B1}" type="slidenum">
              <a:rPr lang="en-GB" smtClean="0"/>
              <a:t>‹#›</a:t>
            </a:fld>
            <a:endParaRPr lang="en-GB"/>
          </a:p>
        </p:txBody>
      </p:sp>
    </p:spTree>
    <p:extLst>
      <p:ext uri="{BB962C8B-B14F-4D97-AF65-F5344CB8AC3E}">
        <p14:creationId xmlns:p14="http://schemas.microsoft.com/office/powerpoint/2010/main" val="2053730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583294-8B11-48B1-94F7-E5DB19C6903C}" type="datetimeFigureOut">
              <a:rPr lang="en-GB" smtClean="0"/>
              <a:t>24/05/2020</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D421DF-B6F3-4CC4-BA09-F610BC65E3B1}" type="slidenum">
              <a:rPr lang="en-GB" smtClean="0"/>
              <a:t>‹#›</a:t>
            </a:fld>
            <a:endParaRPr lang="en-GB"/>
          </a:p>
        </p:txBody>
      </p:sp>
    </p:spTree>
    <p:extLst>
      <p:ext uri="{BB962C8B-B14F-4D97-AF65-F5344CB8AC3E}">
        <p14:creationId xmlns:p14="http://schemas.microsoft.com/office/powerpoint/2010/main" val="256371222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mailto:s.romeo@bbk.ac.uk"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63840-5C10-45A3-8EA3-B484ABC42987}"/>
              </a:ext>
            </a:extLst>
          </p:cNvPr>
          <p:cNvSpPr>
            <a:spLocks noGrp="1"/>
          </p:cNvSpPr>
          <p:nvPr>
            <p:ph type="ctrTitle"/>
          </p:nvPr>
        </p:nvSpPr>
        <p:spPr>
          <a:xfrm>
            <a:off x="2293326" y="1897904"/>
            <a:ext cx="7762482" cy="1744785"/>
          </a:xfrm>
          <a:ln>
            <a:solidFill>
              <a:schemeClr val="bg1"/>
            </a:solidFill>
          </a:ln>
        </p:spPr>
        <p:txBody>
          <a:bodyPr>
            <a:normAutofit fontScale="90000"/>
          </a:bodyPr>
          <a:lstStyle/>
          <a:p>
            <a:r>
              <a:rPr lang="en-GB" dirty="0"/>
              <a:t>Digital Transformation through the Covid-19 Experience</a:t>
            </a:r>
            <a:br>
              <a:rPr lang="en-GB" dirty="0">
                <a:solidFill>
                  <a:srgbClr val="FF0000"/>
                </a:solidFill>
              </a:rPr>
            </a:br>
            <a:r>
              <a:rPr lang="en-GB" sz="3000" dirty="0">
                <a:solidFill>
                  <a:srgbClr val="FF0000"/>
                </a:solidFill>
              </a:rPr>
              <a:t>Ideas, thoughts, and early insights on a research</a:t>
            </a:r>
            <a:br>
              <a:rPr lang="en-GB" sz="3000" dirty="0">
                <a:solidFill>
                  <a:srgbClr val="FF0000"/>
                </a:solidFill>
              </a:rPr>
            </a:br>
            <a:r>
              <a:rPr lang="en-GB" sz="3000" dirty="0">
                <a:solidFill>
                  <a:srgbClr val="FF0000"/>
                </a:solidFill>
              </a:rPr>
              <a:t>on what digital transformation means in these times</a:t>
            </a:r>
          </a:p>
        </p:txBody>
      </p:sp>
      <p:sp>
        <p:nvSpPr>
          <p:cNvPr id="3" name="Subtitle 2">
            <a:extLst>
              <a:ext uri="{FF2B5EF4-FFF2-40B4-BE49-F238E27FC236}">
                <a16:creationId xmlns:a16="http://schemas.microsoft.com/office/drawing/2014/main" id="{9D05AF69-0005-462B-A54D-9EDEEC912A85}"/>
              </a:ext>
            </a:extLst>
          </p:cNvPr>
          <p:cNvSpPr>
            <a:spLocks noGrp="1"/>
          </p:cNvSpPr>
          <p:nvPr>
            <p:ph type="subTitle" idx="1"/>
          </p:nvPr>
        </p:nvSpPr>
        <p:spPr>
          <a:xfrm>
            <a:off x="2044946" y="3565372"/>
            <a:ext cx="7853729" cy="1241822"/>
          </a:xfrm>
        </p:spPr>
        <p:txBody>
          <a:bodyPr>
            <a:normAutofit fontScale="85000" lnSpcReduction="20000"/>
          </a:bodyPr>
          <a:lstStyle/>
          <a:p>
            <a:endParaRPr lang="en-GB" dirty="0"/>
          </a:p>
          <a:p>
            <a:r>
              <a:rPr lang="en-GB" sz="3000" dirty="0"/>
              <a:t>Saverio Romeo</a:t>
            </a:r>
          </a:p>
          <a:p>
            <a:r>
              <a:rPr lang="en-GB" sz="2175" dirty="0"/>
              <a:t>Associate Lecturer on Emerging Digital Technologies Management and Policy – Birkbeck, University of London</a:t>
            </a:r>
          </a:p>
        </p:txBody>
      </p:sp>
    </p:spTree>
    <p:extLst>
      <p:ext uri="{BB962C8B-B14F-4D97-AF65-F5344CB8AC3E}">
        <p14:creationId xmlns:p14="http://schemas.microsoft.com/office/powerpoint/2010/main" val="1923638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444617" y="349167"/>
            <a:ext cx="9165417" cy="994172"/>
          </a:xfrm>
        </p:spPr>
        <p:txBody>
          <a:bodyPr>
            <a:normAutofit fontScale="90000"/>
          </a:bodyPr>
          <a:lstStyle/>
          <a:p>
            <a:r>
              <a:rPr lang="en-GB" dirty="0"/>
              <a:t>The move towards prediction, automation, trust, and decentralisation requires a new era of convergences</a:t>
            </a:r>
          </a:p>
        </p:txBody>
      </p:sp>
      <p:grpSp>
        <p:nvGrpSpPr>
          <p:cNvPr id="15" name="Group 14">
            <a:extLst>
              <a:ext uri="{FF2B5EF4-FFF2-40B4-BE49-F238E27FC236}">
                <a16:creationId xmlns:a16="http://schemas.microsoft.com/office/drawing/2014/main" id="{EBFCE5D2-12F7-479C-85F9-82607B163601}"/>
              </a:ext>
            </a:extLst>
          </p:cNvPr>
          <p:cNvGrpSpPr/>
          <p:nvPr/>
        </p:nvGrpSpPr>
        <p:grpSpPr>
          <a:xfrm>
            <a:off x="1643942" y="1523635"/>
            <a:ext cx="8440329" cy="5400245"/>
            <a:chOff x="-26640" y="1690688"/>
            <a:chExt cx="8440329" cy="5400245"/>
          </a:xfrm>
        </p:grpSpPr>
        <p:sp>
          <p:nvSpPr>
            <p:cNvPr id="16" name="Oval 15">
              <a:extLst>
                <a:ext uri="{FF2B5EF4-FFF2-40B4-BE49-F238E27FC236}">
                  <a16:creationId xmlns:a16="http://schemas.microsoft.com/office/drawing/2014/main" id="{D5A66F49-D83D-4D50-B6A5-CA1A11D8F396}"/>
                </a:ext>
              </a:extLst>
            </p:cNvPr>
            <p:cNvSpPr/>
            <p:nvPr/>
          </p:nvSpPr>
          <p:spPr>
            <a:xfrm rot="2468624">
              <a:off x="1372826" y="2856081"/>
              <a:ext cx="1769178" cy="4234852"/>
            </a:xfrm>
            <a:prstGeom prst="ellipse">
              <a:avLst/>
            </a:prstGeom>
            <a:solidFill>
              <a:schemeClr val="bg1"/>
            </a:solidFill>
            <a:ln w="1270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11A17251-3517-4302-AB8A-6C4F7FEA4FE9}"/>
                </a:ext>
              </a:extLst>
            </p:cNvPr>
            <p:cNvSpPr/>
            <p:nvPr/>
          </p:nvSpPr>
          <p:spPr>
            <a:xfrm>
              <a:off x="3615558" y="4536009"/>
              <a:ext cx="824097" cy="822773"/>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LT</a:t>
              </a:r>
            </a:p>
          </p:txBody>
        </p:sp>
        <p:sp>
          <p:nvSpPr>
            <p:cNvPr id="18" name="Oval 17">
              <a:extLst>
                <a:ext uri="{FF2B5EF4-FFF2-40B4-BE49-F238E27FC236}">
                  <a16:creationId xmlns:a16="http://schemas.microsoft.com/office/drawing/2014/main" id="{ADF9B499-EACE-4EB6-B972-D12FF4B6E95E}"/>
                </a:ext>
              </a:extLst>
            </p:cNvPr>
            <p:cNvSpPr/>
            <p:nvPr/>
          </p:nvSpPr>
          <p:spPr>
            <a:xfrm>
              <a:off x="1111787" y="5570378"/>
              <a:ext cx="824097" cy="822773"/>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G</a:t>
              </a:r>
            </a:p>
          </p:txBody>
        </p:sp>
        <p:cxnSp>
          <p:nvCxnSpPr>
            <p:cNvPr id="19" name="Straight Connector 18">
              <a:extLst>
                <a:ext uri="{FF2B5EF4-FFF2-40B4-BE49-F238E27FC236}">
                  <a16:creationId xmlns:a16="http://schemas.microsoft.com/office/drawing/2014/main" id="{205D0AD3-5DCB-41E4-9011-086459E0624A}"/>
                </a:ext>
              </a:extLst>
            </p:cNvPr>
            <p:cNvCxnSpPr>
              <a:stCxn id="18" idx="7"/>
              <a:endCxn id="27" idx="3"/>
            </p:cNvCxnSpPr>
            <p:nvPr/>
          </p:nvCxnSpPr>
          <p:spPr>
            <a:xfrm flipV="1">
              <a:off x="1815198" y="5238289"/>
              <a:ext cx="297850" cy="4525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E3269BE-20B7-438C-8433-D129D9A093F9}"/>
                </a:ext>
              </a:extLst>
            </p:cNvPr>
            <p:cNvCxnSpPr>
              <a:cxnSpLocks/>
            </p:cNvCxnSpPr>
            <p:nvPr/>
          </p:nvCxnSpPr>
          <p:spPr>
            <a:xfrm flipV="1">
              <a:off x="2612991" y="4243024"/>
              <a:ext cx="241373" cy="346184"/>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1F07294-3C2E-49EF-BA5C-2A65959F158E}"/>
                </a:ext>
              </a:extLst>
            </p:cNvPr>
            <p:cNvSpPr txBox="1"/>
            <p:nvPr/>
          </p:nvSpPr>
          <p:spPr>
            <a:xfrm>
              <a:off x="-26640" y="4074426"/>
              <a:ext cx="1378904" cy="646331"/>
            </a:xfrm>
            <a:prstGeom prst="rect">
              <a:avLst/>
            </a:prstGeom>
            <a:noFill/>
          </p:spPr>
          <p:txBody>
            <a:bodyPr wrap="none" rtlCol="0">
              <a:spAutoFit/>
            </a:bodyPr>
            <a:lstStyle/>
            <a:p>
              <a:r>
                <a:rPr lang="en-GB" b="1" dirty="0">
                  <a:solidFill>
                    <a:srgbClr val="FF0000"/>
                  </a:solidFill>
                </a:rPr>
                <a:t>Intelligent </a:t>
              </a:r>
            </a:p>
            <a:p>
              <a:r>
                <a:rPr lang="en-GB" b="1" dirty="0">
                  <a:solidFill>
                    <a:srgbClr val="FF0000"/>
                  </a:solidFill>
                </a:rPr>
                <a:t>Connectivity</a:t>
              </a:r>
            </a:p>
          </p:txBody>
        </p:sp>
        <p:cxnSp>
          <p:nvCxnSpPr>
            <p:cNvPr id="22" name="Straight Connector 21">
              <a:extLst>
                <a:ext uri="{FF2B5EF4-FFF2-40B4-BE49-F238E27FC236}">
                  <a16:creationId xmlns:a16="http://schemas.microsoft.com/office/drawing/2014/main" id="{FC2D805D-D2F4-40B3-8DCD-DBCD9E872F2F}"/>
                </a:ext>
              </a:extLst>
            </p:cNvPr>
            <p:cNvCxnSpPr>
              <a:stCxn id="28" idx="5"/>
              <a:endCxn id="17" idx="1"/>
            </p:cNvCxnSpPr>
            <p:nvPr/>
          </p:nvCxnSpPr>
          <p:spPr>
            <a:xfrm>
              <a:off x="3451084" y="4189824"/>
              <a:ext cx="285160" cy="46667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BA06BB4-DD28-4EF7-8400-86ECC48CBEDE}"/>
                </a:ext>
              </a:extLst>
            </p:cNvPr>
            <p:cNvCxnSpPr>
              <a:stCxn id="27" idx="6"/>
              <a:endCxn id="17" idx="2"/>
            </p:cNvCxnSpPr>
            <p:nvPr/>
          </p:nvCxnSpPr>
          <p:spPr>
            <a:xfrm>
              <a:off x="2816459" y="4947395"/>
              <a:ext cx="799099" cy="1"/>
            </a:xfrm>
            <a:prstGeom prst="line">
              <a:avLst/>
            </a:prstGeom>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16EB12A5-34DD-4EEA-A1BC-AD1CCE028E4E}"/>
                </a:ext>
              </a:extLst>
            </p:cNvPr>
            <p:cNvSpPr/>
            <p:nvPr/>
          </p:nvSpPr>
          <p:spPr>
            <a:xfrm>
              <a:off x="1856533" y="3409091"/>
              <a:ext cx="2657183" cy="2346377"/>
            </a:xfrm>
            <a:prstGeom prst="ellipse">
              <a:avLst/>
            </a:prstGeom>
            <a:no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Box 24">
              <a:extLst>
                <a:ext uri="{FF2B5EF4-FFF2-40B4-BE49-F238E27FC236}">
                  <a16:creationId xmlns:a16="http://schemas.microsoft.com/office/drawing/2014/main" id="{61B8F87E-198C-4147-9E79-E926B8CEF791}"/>
                </a:ext>
              </a:extLst>
            </p:cNvPr>
            <p:cNvSpPr txBox="1"/>
            <p:nvPr/>
          </p:nvSpPr>
          <p:spPr>
            <a:xfrm>
              <a:off x="4513716" y="3910700"/>
              <a:ext cx="3795270" cy="646331"/>
            </a:xfrm>
            <a:prstGeom prst="rect">
              <a:avLst/>
            </a:prstGeom>
            <a:noFill/>
          </p:spPr>
          <p:txBody>
            <a:bodyPr wrap="none" rtlCol="0">
              <a:spAutoFit/>
            </a:bodyPr>
            <a:lstStyle/>
            <a:p>
              <a:r>
                <a:rPr lang="en-GB" b="1" dirty="0">
                  <a:solidFill>
                    <a:srgbClr val="002060"/>
                  </a:solidFill>
                </a:rPr>
                <a:t>Trusted Decentralised and Distributed</a:t>
              </a:r>
            </a:p>
            <a:p>
              <a:r>
                <a:rPr lang="en-GB" b="1" dirty="0">
                  <a:solidFill>
                    <a:srgbClr val="002060"/>
                  </a:solidFill>
                </a:rPr>
                <a:t>Decision Making</a:t>
              </a:r>
            </a:p>
          </p:txBody>
        </p:sp>
        <p:grpSp>
          <p:nvGrpSpPr>
            <p:cNvPr id="26" name="Group 25">
              <a:extLst>
                <a:ext uri="{FF2B5EF4-FFF2-40B4-BE49-F238E27FC236}">
                  <a16:creationId xmlns:a16="http://schemas.microsoft.com/office/drawing/2014/main" id="{27F7A30D-70B9-4FFC-8A0B-641910C67F6A}"/>
                </a:ext>
              </a:extLst>
            </p:cNvPr>
            <p:cNvGrpSpPr/>
            <p:nvPr/>
          </p:nvGrpSpPr>
          <p:grpSpPr>
            <a:xfrm>
              <a:off x="1992362" y="1690688"/>
              <a:ext cx="6421327" cy="4296668"/>
              <a:chOff x="1935884" y="1690689"/>
              <a:chExt cx="6421327" cy="4296668"/>
            </a:xfrm>
          </p:grpSpPr>
          <p:sp>
            <p:nvSpPr>
              <p:cNvPr id="27" name="Oval 26">
                <a:extLst>
                  <a:ext uri="{FF2B5EF4-FFF2-40B4-BE49-F238E27FC236}">
                    <a16:creationId xmlns:a16="http://schemas.microsoft.com/office/drawing/2014/main" id="{4837FCDC-C84D-43FE-88DA-0FFCEB5D1EA8}"/>
                  </a:ext>
                </a:extLst>
              </p:cNvPr>
              <p:cNvSpPr/>
              <p:nvPr/>
            </p:nvSpPr>
            <p:spPr>
              <a:xfrm>
                <a:off x="1935884" y="4536009"/>
                <a:ext cx="824097" cy="822773"/>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oT</a:t>
                </a:r>
              </a:p>
            </p:txBody>
          </p:sp>
          <p:sp>
            <p:nvSpPr>
              <p:cNvPr id="28" name="Oval 27">
                <a:extLst>
                  <a:ext uri="{FF2B5EF4-FFF2-40B4-BE49-F238E27FC236}">
                    <a16:creationId xmlns:a16="http://schemas.microsoft.com/office/drawing/2014/main" id="{5B12FC22-C64D-471B-BADB-6635B7504E86}"/>
                  </a:ext>
                </a:extLst>
              </p:cNvPr>
              <p:cNvSpPr/>
              <p:nvPr/>
            </p:nvSpPr>
            <p:spPr>
              <a:xfrm>
                <a:off x="2691195" y="3487544"/>
                <a:ext cx="824097" cy="822773"/>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I</a:t>
                </a:r>
              </a:p>
            </p:txBody>
          </p:sp>
          <p:sp>
            <p:nvSpPr>
              <p:cNvPr id="29" name="Oval 28">
                <a:extLst>
                  <a:ext uri="{FF2B5EF4-FFF2-40B4-BE49-F238E27FC236}">
                    <a16:creationId xmlns:a16="http://schemas.microsoft.com/office/drawing/2014/main" id="{F89E34C1-3D2D-4472-9156-9A17EBDCA10B}"/>
                  </a:ext>
                </a:extLst>
              </p:cNvPr>
              <p:cNvSpPr/>
              <p:nvPr/>
            </p:nvSpPr>
            <p:spPr>
              <a:xfrm>
                <a:off x="3616502" y="2469814"/>
                <a:ext cx="824097" cy="822773"/>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R</a:t>
                </a:r>
              </a:p>
            </p:txBody>
          </p:sp>
          <p:sp>
            <p:nvSpPr>
              <p:cNvPr id="30" name="TextBox 29">
                <a:extLst>
                  <a:ext uri="{FF2B5EF4-FFF2-40B4-BE49-F238E27FC236}">
                    <a16:creationId xmlns:a16="http://schemas.microsoft.com/office/drawing/2014/main" id="{B43E6677-9C3F-4021-BD5C-0D270C03BE24}"/>
                  </a:ext>
                </a:extLst>
              </p:cNvPr>
              <p:cNvSpPr txBox="1"/>
              <p:nvPr/>
            </p:nvSpPr>
            <p:spPr>
              <a:xfrm>
                <a:off x="4857470" y="2281794"/>
                <a:ext cx="3499741" cy="646331"/>
              </a:xfrm>
              <a:prstGeom prst="rect">
                <a:avLst/>
              </a:prstGeom>
              <a:noFill/>
            </p:spPr>
            <p:txBody>
              <a:bodyPr wrap="none" rtlCol="0">
                <a:spAutoFit/>
              </a:bodyPr>
              <a:lstStyle/>
              <a:p>
                <a:r>
                  <a:rPr lang="en-GB" b="1" dirty="0">
                    <a:solidFill>
                      <a:schemeClr val="accent6">
                        <a:lumMod val="75000"/>
                      </a:schemeClr>
                    </a:solidFill>
                  </a:rPr>
                  <a:t>Predicting, Prescribing, Visualising </a:t>
                </a:r>
              </a:p>
              <a:p>
                <a:r>
                  <a:rPr lang="en-GB" b="1" dirty="0">
                    <a:solidFill>
                      <a:schemeClr val="accent6">
                        <a:lumMod val="75000"/>
                      </a:schemeClr>
                    </a:solidFill>
                  </a:rPr>
                  <a:t>and Engaging</a:t>
                </a:r>
              </a:p>
            </p:txBody>
          </p:sp>
          <p:sp>
            <p:nvSpPr>
              <p:cNvPr id="31" name="Oval 30">
                <a:extLst>
                  <a:ext uri="{FF2B5EF4-FFF2-40B4-BE49-F238E27FC236}">
                    <a16:creationId xmlns:a16="http://schemas.microsoft.com/office/drawing/2014/main" id="{01FC6F5E-90F2-44AC-9E52-5CAED60984D3}"/>
                  </a:ext>
                </a:extLst>
              </p:cNvPr>
              <p:cNvSpPr/>
              <p:nvPr/>
            </p:nvSpPr>
            <p:spPr>
              <a:xfrm rot="18561998">
                <a:off x="1141395" y="3194407"/>
                <a:ext cx="4296668" cy="1289232"/>
              </a:xfrm>
              <a:prstGeom prst="ellipse">
                <a:avLst/>
              </a:prstGeom>
              <a:noFill/>
              <a:ln w="1270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32" name="TextBox 31">
            <a:extLst>
              <a:ext uri="{FF2B5EF4-FFF2-40B4-BE49-F238E27FC236}">
                <a16:creationId xmlns:a16="http://schemas.microsoft.com/office/drawing/2014/main" id="{14315E7F-AA08-4111-8F44-30038CA1224E}"/>
              </a:ext>
            </a:extLst>
          </p:cNvPr>
          <p:cNvSpPr txBox="1"/>
          <p:nvPr/>
        </p:nvSpPr>
        <p:spPr>
          <a:xfrm>
            <a:off x="9856617" y="-8389"/>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1236718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p:txBody>
          <a:bodyPr/>
          <a:lstStyle/>
          <a:p>
            <a:r>
              <a:rPr lang="en-GB" dirty="0"/>
              <a:t>Covid-19 and life under WHO recommendations</a:t>
            </a:r>
          </a:p>
        </p:txBody>
      </p:sp>
      <p:graphicFrame>
        <p:nvGraphicFramePr>
          <p:cNvPr id="5" name="Diagram 4">
            <a:extLst>
              <a:ext uri="{FF2B5EF4-FFF2-40B4-BE49-F238E27FC236}">
                <a16:creationId xmlns:a16="http://schemas.microsoft.com/office/drawing/2014/main" id="{8E74C0AE-1FDE-4E7E-A679-397910166665}"/>
              </a:ext>
            </a:extLst>
          </p:cNvPr>
          <p:cNvGraphicFramePr/>
          <p:nvPr>
            <p:extLst>
              <p:ext uri="{D42A27DB-BD31-4B8C-83A1-F6EECF244321}">
                <p14:modId xmlns:p14="http://schemas.microsoft.com/office/powerpoint/2010/main" val="2995023721"/>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3F4D6090-77B3-4176-92DA-C0DBCA37F554}"/>
              </a:ext>
            </a:extLst>
          </p:cNvPr>
          <p:cNvSpPr txBox="1"/>
          <p:nvPr/>
        </p:nvSpPr>
        <p:spPr>
          <a:xfrm>
            <a:off x="9307978" y="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sp>
        <p:nvSpPr>
          <p:cNvPr id="8" name="TextBox 7">
            <a:extLst>
              <a:ext uri="{FF2B5EF4-FFF2-40B4-BE49-F238E27FC236}">
                <a16:creationId xmlns:a16="http://schemas.microsoft.com/office/drawing/2014/main" id="{D82219AE-19F3-40C1-9333-39D9DE39EE8A}"/>
              </a:ext>
            </a:extLst>
          </p:cNvPr>
          <p:cNvSpPr txBox="1"/>
          <p:nvPr/>
        </p:nvSpPr>
        <p:spPr>
          <a:xfrm>
            <a:off x="838200" y="5016617"/>
            <a:ext cx="10717994" cy="923330"/>
          </a:xfrm>
          <a:prstGeom prst="rect">
            <a:avLst/>
          </a:prstGeom>
          <a:noFill/>
        </p:spPr>
        <p:txBody>
          <a:bodyPr wrap="square" rtlCol="0">
            <a:spAutoFit/>
          </a:bodyPr>
          <a:lstStyle/>
          <a:p>
            <a:r>
              <a:rPr lang="en-GB" b="1" dirty="0"/>
              <a:t>Built on almost 20 years of pandemics</a:t>
            </a:r>
            <a:r>
              <a:rPr lang="en-GB" dirty="0"/>
              <a:t>: The Covid-19 is the peak of an era of pandemic crisis affecting our planet from the SARS pandemic in 2003 to Zika virus in Latin America in 2015 passing by the Avian influenza in 2006 H1N1 in 2009 and Ebola in 2014. </a:t>
            </a:r>
          </a:p>
        </p:txBody>
      </p:sp>
      <p:sp>
        <p:nvSpPr>
          <p:cNvPr id="6" name="TextBox 5">
            <a:extLst>
              <a:ext uri="{FF2B5EF4-FFF2-40B4-BE49-F238E27FC236}">
                <a16:creationId xmlns:a16="http://schemas.microsoft.com/office/drawing/2014/main" id="{300C2FAB-B793-4942-AFDD-48FC6D2C21E5}"/>
              </a:ext>
            </a:extLst>
          </p:cNvPr>
          <p:cNvSpPr txBox="1"/>
          <p:nvPr/>
        </p:nvSpPr>
        <p:spPr>
          <a:xfrm>
            <a:off x="838200" y="6277430"/>
            <a:ext cx="7497565" cy="430887"/>
          </a:xfrm>
          <a:prstGeom prst="rect">
            <a:avLst/>
          </a:prstGeom>
          <a:noFill/>
        </p:spPr>
        <p:txBody>
          <a:bodyPr wrap="none" rtlCol="0">
            <a:spAutoFit/>
          </a:bodyPr>
          <a:lstStyle/>
          <a:p>
            <a:r>
              <a:rPr lang="en-GB" sz="1100" dirty="0"/>
              <a:t>Christopher Wilson and Maria </a:t>
            </a:r>
            <a:r>
              <a:rPr lang="en-GB" sz="1100" dirty="0" err="1"/>
              <a:t>Garbrielsen</a:t>
            </a:r>
            <a:r>
              <a:rPr lang="en-GB" sz="1100" dirty="0"/>
              <a:t> </a:t>
            </a:r>
            <a:r>
              <a:rPr lang="en-GB" sz="1100" dirty="0" err="1"/>
              <a:t>Jumbert</a:t>
            </a:r>
            <a:r>
              <a:rPr lang="en-GB" sz="1100" dirty="0"/>
              <a:t>. 2018. </a:t>
            </a:r>
            <a:r>
              <a:rPr lang="en-GB" sz="1100" i="1" dirty="0"/>
              <a:t>The new informatics of pandemic response: humanitarian technology,</a:t>
            </a:r>
          </a:p>
          <a:p>
            <a:r>
              <a:rPr lang="en-GB" sz="1100" i="1" dirty="0"/>
              <a:t>efficiency, and the subtle retreat of national agency</a:t>
            </a:r>
            <a:r>
              <a:rPr lang="en-GB" sz="1100" dirty="0"/>
              <a:t>. Journal of International Humanitarian Action </a:t>
            </a:r>
          </a:p>
        </p:txBody>
      </p:sp>
    </p:spTree>
    <p:extLst>
      <p:ext uri="{BB962C8B-B14F-4D97-AF65-F5344CB8AC3E}">
        <p14:creationId xmlns:p14="http://schemas.microsoft.com/office/powerpoint/2010/main" val="513419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p:txBody>
          <a:bodyPr/>
          <a:lstStyle/>
          <a:p>
            <a:r>
              <a:rPr lang="en-GB" dirty="0"/>
              <a:t>Techno- versus human-driven </a:t>
            </a:r>
            <a:br>
              <a:rPr lang="en-GB" dirty="0"/>
            </a:br>
            <a:r>
              <a:rPr lang="en-GB" dirty="0"/>
              <a:t>approaches for virus control</a:t>
            </a:r>
          </a:p>
        </p:txBody>
      </p:sp>
      <p:graphicFrame>
        <p:nvGraphicFramePr>
          <p:cNvPr id="5" name="Diagram 4">
            <a:extLst>
              <a:ext uri="{FF2B5EF4-FFF2-40B4-BE49-F238E27FC236}">
                <a16:creationId xmlns:a16="http://schemas.microsoft.com/office/drawing/2014/main" id="{8E74C0AE-1FDE-4E7E-A679-397910166665}"/>
              </a:ext>
            </a:extLst>
          </p:cNvPr>
          <p:cNvGraphicFramePr/>
          <p:nvPr>
            <p:extLst>
              <p:ext uri="{D42A27DB-BD31-4B8C-83A1-F6EECF244321}">
                <p14:modId xmlns:p14="http://schemas.microsoft.com/office/powerpoint/2010/main" val="3583494923"/>
              </p:ext>
            </p:extLst>
          </p:nvPr>
        </p:nvGraphicFramePr>
        <p:xfrm>
          <a:off x="1890181" y="365125"/>
          <a:ext cx="6373769" cy="4072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3F4D6090-77B3-4176-92DA-C0DBCA37F554}"/>
              </a:ext>
            </a:extLst>
          </p:cNvPr>
          <p:cNvSpPr txBox="1"/>
          <p:nvPr/>
        </p:nvSpPr>
        <p:spPr>
          <a:xfrm>
            <a:off x="9315931" y="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sp>
        <p:nvSpPr>
          <p:cNvPr id="3" name="Rectangle 2">
            <a:extLst>
              <a:ext uri="{FF2B5EF4-FFF2-40B4-BE49-F238E27FC236}">
                <a16:creationId xmlns:a16="http://schemas.microsoft.com/office/drawing/2014/main" id="{45F31BAA-8334-4460-BC54-8AB5D3180D7A}"/>
              </a:ext>
            </a:extLst>
          </p:cNvPr>
          <p:cNvSpPr/>
          <p:nvPr/>
        </p:nvSpPr>
        <p:spPr>
          <a:xfrm>
            <a:off x="391719" y="3429000"/>
            <a:ext cx="4546833" cy="2982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echno-driven approach (China)</a:t>
            </a:r>
          </a:p>
          <a:p>
            <a:pPr marL="285750" indent="-285750">
              <a:buFont typeface="Arial" panose="020B0604020202020204" pitchFamily="34" charset="0"/>
              <a:buChar char="•"/>
            </a:pPr>
            <a:r>
              <a:rPr lang="en-GB" sz="1600" b="1" dirty="0"/>
              <a:t>Identify</a:t>
            </a:r>
            <a:r>
              <a:rPr lang="en-GB" sz="1200" dirty="0"/>
              <a:t> </a:t>
            </a:r>
            <a:r>
              <a:rPr lang="en-GB" sz="1200" dirty="0">
                <a:sym typeface="Wingdings" panose="05000000000000000000" pitchFamily="2" charset="2"/>
              </a:rPr>
              <a:t> Ubiquitous surveillance systems (Chongqing, 2.6m cameras for 15.35 million people, 1 camera every six citizens); centralized data centre (sensors data); AI solutions for scanning (10-15s); drones for surveillance; IoT devices for tracking citizens movements; AI body thermo-scanners (Baidu, </a:t>
            </a:r>
            <a:r>
              <a:rPr lang="en-GB" sz="1200" dirty="0" err="1">
                <a:sym typeface="Wingdings" panose="05000000000000000000" pitchFamily="2" charset="2"/>
              </a:rPr>
              <a:t>Megvii</a:t>
            </a:r>
            <a:r>
              <a:rPr lang="en-GB" sz="1200" dirty="0">
                <a:sym typeface="Wingdings" panose="05000000000000000000" pitchFamily="2" charset="2"/>
              </a:rPr>
              <a:t>) </a:t>
            </a:r>
            <a:endParaRPr lang="en-GB" dirty="0"/>
          </a:p>
          <a:p>
            <a:pPr marL="285750" indent="-285750">
              <a:buFont typeface="Arial" panose="020B0604020202020204" pitchFamily="34" charset="0"/>
              <a:buChar char="•"/>
            </a:pPr>
            <a:r>
              <a:rPr lang="en-GB" sz="1600" b="1" dirty="0"/>
              <a:t>Isolate</a:t>
            </a:r>
            <a:r>
              <a:rPr lang="en-GB" dirty="0"/>
              <a:t> </a:t>
            </a:r>
            <a:r>
              <a:rPr lang="en-GB" dirty="0">
                <a:sym typeface="Wingdings" panose="05000000000000000000" pitchFamily="2" charset="2"/>
              </a:rPr>
              <a:t></a:t>
            </a:r>
            <a:r>
              <a:rPr lang="en-GB" sz="1200" dirty="0">
                <a:sym typeface="Wingdings" panose="05000000000000000000" pitchFamily="2" charset="2"/>
              </a:rPr>
              <a:t> AI supporting medical staff to understand data and emerging trends (GPU-accelerated AI such as </a:t>
            </a:r>
            <a:r>
              <a:rPr lang="en-GB" sz="1200" dirty="0" err="1">
                <a:sym typeface="Wingdings" panose="05000000000000000000" pitchFamily="2" charset="2"/>
              </a:rPr>
              <a:t>Infervision</a:t>
            </a:r>
            <a:r>
              <a:rPr lang="en-GB" sz="1200" dirty="0">
                <a:sym typeface="Wingdings" panose="05000000000000000000" pitchFamily="2" charset="2"/>
              </a:rPr>
              <a:t>), travel history of patients tested positive posted online, digital prevention system enabled self-registration of patients (Alibaba)</a:t>
            </a:r>
          </a:p>
          <a:p>
            <a:pPr marL="285750" indent="-285750">
              <a:buFont typeface="Arial" panose="020B0604020202020204" pitchFamily="34" charset="0"/>
              <a:buChar char="•"/>
            </a:pPr>
            <a:r>
              <a:rPr lang="en-GB" sz="1600" b="1" dirty="0">
                <a:sym typeface="Wingdings" panose="05000000000000000000" pitchFamily="2" charset="2"/>
              </a:rPr>
              <a:t>Lockdown  </a:t>
            </a:r>
            <a:r>
              <a:rPr lang="en-GB" sz="1200" dirty="0">
                <a:sym typeface="Wingdings" panose="05000000000000000000" pitchFamily="2" charset="2"/>
              </a:rPr>
              <a:t>Each citizen has a QR code, which allows to track his or her movement. Drones for surveillance</a:t>
            </a:r>
            <a:endParaRPr lang="en-GB" sz="1600" b="1" dirty="0">
              <a:sym typeface="Wingdings" panose="05000000000000000000" pitchFamily="2" charset="2"/>
            </a:endParaRPr>
          </a:p>
          <a:p>
            <a:pPr marL="285750" indent="-285750" algn="ctr">
              <a:buFont typeface="Arial" panose="020B0604020202020204" pitchFamily="34" charset="0"/>
              <a:buChar char="•"/>
            </a:pPr>
            <a:r>
              <a:rPr lang="en-GB" dirty="0">
                <a:sym typeface="Wingdings" panose="05000000000000000000" pitchFamily="2" charset="2"/>
              </a:rPr>
              <a:t> </a:t>
            </a:r>
            <a:endParaRPr lang="en-GB" sz="1200" dirty="0">
              <a:sym typeface="Wingdings" panose="05000000000000000000" pitchFamily="2" charset="2"/>
            </a:endParaRPr>
          </a:p>
          <a:p>
            <a:pPr marL="285750" indent="-285750" algn="ctr">
              <a:buFont typeface="Arial" panose="020B0604020202020204" pitchFamily="34" charset="0"/>
              <a:buChar char="•"/>
            </a:pPr>
            <a:endParaRPr lang="en-GB" sz="1200" dirty="0"/>
          </a:p>
        </p:txBody>
      </p:sp>
      <p:sp>
        <p:nvSpPr>
          <p:cNvPr id="6" name="Rectangle 5">
            <a:extLst>
              <a:ext uri="{FF2B5EF4-FFF2-40B4-BE49-F238E27FC236}">
                <a16:creationId xmlns:a16="http://schemas.microsoft.com/office/drawing/2014/main" id="{2411A063-0C04-4101-A549-341DD28A782D}"/>
              </a:ext>
            </a:extLst>
          </p:cNvPr>
          <p:cNvSpPr/>
          <p:nvPr/>
        </p:nvSpPr>
        <p:spPr>
          <a:xfrm>
            <a:off x="5654318" y="3429000"/>
            <a:ext cx="4546833" cy="2982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Human-driven approach (Europe, USA)</a:t>
            </a:r>
          </a:p>
          <a:p>
            <a:pPr marL="285750" indent="-285750">
              <a:buFont typeface="Arial" panose="020B0604020202020204" pitchFamily="34" charset="0"/>
              <a:buChar char="•"/>
            </a:pPr>
            <a:r>
              <a:rPr lang="en-GB" sz="1600" b="1" dirty="0"/>
              <a:t>Identify</a:t>
            </a:r>
            <a:r>
              <a:rPr lang="en-GB" sz="1200" dirty="0"/>
              <a:t> </a:t>
            </a:r>
            <a:r>
              <a:rPr lang="en-GB" sz="1200" dirty="0">
                <a:sym typeface="Wingdings" panose="05000000000000000000" pitchFamily="2" charset="2"/>
              </a:rPr>
              <a:t> Approach based on transparency, data protection and consensus. Use of aggregate mobile data and Internet data to understand citizens’ behaviour.  Applications that enable people to share data if they want (Safe Paths, </a:t>
            </a:r>
            <a:r>
              <a:rPr lang="en-GB" sz="1200" dirty="0" err="1">
                <a:sym typeface="Wingdings" panose="05000000000000000000" pitchFamily="2" charset="2"/>
              </a:rPr>
              <a:t>GeoHealth</a:t>
            </a:r>
            <a:r>
              <a:rPr lang="en-GB" sz="1200" dirty="0">
                <a:sym typeface="Wingdings" panose="05000000000000000000" pitchFamily="2" charset="2"/>
              </a:rPr>
              <a:t>)</a:t>
            </a:r>
            <a:endParaRPr lang="en-GB" dirty="0"/>
          </a:p>
          <a:p>
            <a:pPr marL="285750" indent="-285750">
              <a:buFont typeface="Arial" panose="020B0604020202020204" pitchFamily="34" charset="0"/>
              <a:buChar char="•"/>
            </a:pPr>
            <a:r>
              <a:rPr lang="en-GB" sz="1600" b="1" dirty="0"/>
              <a:t>Isolate</a:t>
            </a:r>
            <a:r>
              <a:rPr lang="en-GB" dirty="0"/>
              <a:t> </a:t>
            </a:r>
            <a:r>
              <a:rPr lang="en-GB" dirty="0">
                <a:sym typeface="Wingdings" panose="05000000000000000000" pitchFamily="2" charset="2"/>
              </a:rPr>
              <a:t></a:t>
            </a:r>
            <a:r>
              <a:rPr lang="en-GB" sz="1200" dirty="0">
                <a:sym typeface="Wingdings" panose="05000000000000000000" pitchFamily="2" charset="2"/>
              </a:rPr>
              <a:t> Diverse use of technologies also due to the different levels of decision makings (Central state versus regional authorities)</a:t>
            </a:r>
          </a:p>
          <a:p>
            <a:pPr marL="285750" indent="-285750">
              <a:buFont typeface="Arial" panose="020B0604020202020204" pitchFamily="34" charset="0"/>
              <a:buChar char="•"/>
            </a:pPr>
            <a:r>
              <a:rPr lang="en-GB" sz="1600" b="1" dirty="0">
                <a:sym typeface="Wingdings" panose="05000000000000000000" pitchFamily="2" charset="2"/>
              </a:rPr>
              <a:t>Lockdown  </a:t>
            </a:r>
            <a:r>
              <a:rPr lang="en-GB" sz="1200" dirty="0">
                <a:sym typeface="Wingdings" panose="05000000000000000000" pitchFamily="2" charset="2"/>
              </a:rPr>
              <a:t>National lockdown approach as key way through with the use of technologies for assisting living and healthcare and social care activities</a:t>
            </a:r>
            <a:endParaRPr lang="en-GB" sz="1600" dirty="0">
              <a:sym typeface="Wingdings" panose="05000000000000000000" pitchFamily="2" charset="2"/>
            </a:endParaRPr>
          </a:p>
          <a:p>
            <a:pPr marL="285750" indent="-285750" algn="ctr">
              <a:buFont typeface="Arial" panose="020B0604020202020204" pitchFamily="34" charset="0"/>
              <a:buChar char="•"/>
            </a:pPr>
            <a:r>
              <a:rPr lang="en-GB" dirty="0">
                <a:sym typeface="Wingdings" panose="05000000000000000000" pitchFamily="2" charset="2"/>
              </a:rPr>
              <a:t> </a:t>
            </a:r>
            <a:endParaRPr lang="en-GB" sz="1200" dirty="0">
              <a:sym typeface="Wingdings" panose="05000000000000000000" pitchFamily="2" charset="2"/>
            </a:endParaRPr>
          </a:p>
          <a:p>
            <a:pPr marL="285750" indent="-285750" algn="ctr">
              <a:buFont typeface="Arial" panose="020B0604020202020204" pitchFamily="34" charset="0"/>
              <a:buChar char="•"/>
            </a:pPr>
            <a:endParaRPr lang="en-GB" sz="1200" dirty="0"/>
          </a:p>
        </p:txBody>
      </p:sp>
      <p:sp>
        <p:nvSpPr>
          <p:cNvPr id="4" name="TextBox 3">
            <a:extLst>
              <a:ext uri="{FF2B5EF4-FFF2-40B4-BE49-F238E27FC236}">
                <a16:creationId xmlns:a16="http://schemas.microsoft.com/office/drawing/2014/main" id="{FDA759CA-D372-4951-8AFE-F0D9AB76DD31}"/>
              </a:ext>
            </a:extLst>
          </p:cNvPr>
          <p:cNvSpPr txBox="1"/>
          <p:nvPr/>
        </p:nvSpPr>
        <p:spPr>
          <a:xfrm>
            <a:off x="391719" y="6427113"/>
            <a:ext cx="7024680" cy="430887"/>
          </a:xfrm>
          <a:prstGeom prst="rect">
            <a:avLst/>
          </a:prstGeom>
          <a:noFill/>
        </p:spPr>
        <p:txBody>
          <a:bodyPr wrap="none" rtlCol="0">
            <a:spAutoFit/>
          </a:bodyPr>
          <a:lstStyle/>
          <a:p>
            <a:r>
              <a:rPr lang="en-GB" sz="1100" dirty="0"/>
              <a:t>Rama Krishna Reddy </a:t>
            </a:r>
            <a:r>
              <a:rPr lang="en-GB" sz="1100" dirty="0" err="1"/>
              <a:t>Kummitha</a:t>
            </a:r>
            <a:r>
              <a:rPr lang="en-GB" sz="1100" dirty="0"/>
              <a:t>. April 2020. </a:t>
            </a:r>
            <a:r>
              <a:rPr lang="en-GB" sz="1100" i="1" dirty="0"/>
              <a:t>Smart Technologies for fighting pandemics: The techno- and human- driven </a:t>
            </a:r>
          </a:p>
          <a:p>
            <a:r>
              <a:rPr lang="en-GB" sz="1100" i="1" dirty="0"/>
              <a:t>Approaches in controlling the virus transmission</a:t>
            </a:r>
            <a:r>
              <a:rPr lang="en-GB" sz="1100" dirty="0"/>
              <a:t>. Government Information Quarterly.</a:t>
            </a:r>
          </a:p>
        </p:txBody>
      </p:sp>
    </p:spTree>
    <p:extLst>
      <p:ext uri="{BB962C8B-B14F-4D97-AF65-F5344CB8AC3E}">
        <p14:creationId xmlns:p14="http://schemas.microsoft.com/office/powerpoint/2010/main" val="1115246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p:txBody>
          <a:bodyPr/>
          <a:lstStyle/>
          <a:p>
            <a:r>
              <a:rPr lang="en-GB" dirty="0"/>
              <a:t>Virus Control and the impact on </a:t>
            </a:r>
            <a:br>
              <a:rPr lang="en-GB" dirty="0"/>
            </a:br>
            <a:r>
              <a:rPr lang="en-GB" dirty="0"/>
              <a:t>organisations</a:t>
            </a:r>
          </a:p>
        </p:txBody>
      </p:sp>
      <p:graphicFrame>
        <p:nvGraphicFramePr>
          <p:cNvPr id="5" name="Diagram 4">
            <a:extLst>
              <a:ext uri="{FF2B5EF4-FFF2-40B4-BE49-F238E27FC236}">
                <a16:creationId xmlns:a16="http://schemas.microsoft.com/office/drawing/2014/main" id="{8E74C0AE-1FDE-4E7E-A679-397910166665}"/>
              </a:ext>
            </a:extLst>
          </p:cNvPr>
          <p:cNvGraphicFramePr/>
          <p:nvPr>
            <p:extLst>
              <p:ext uri="{D42A27DB-BD31-4B8C-83A1-F6EECF244321}">
                <p14:modId xmlns:p14="http://schemas.microsoft.com/office/powerpoint/2010/main" val="4106490199"/>
              </p:ext>
            </p:extLst>
          </p:nvPr>
        </p:nvGraphicFramePr>
        <p:xfrm>
          <a:off x="325000" y="1238872"/>
          <a:ext cx="5316904" cy="3275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3F4D6090-77B3-4176-92DA-C0DBCA37F554}"/>
              </a:ext>
            </a:extLst>
          </p:cNvPr>
          <p:cNvSpPr txBox="1"/>
          <p:nvPr/>
        </p:nvSpPr>
        <p:spPr>
          <a:xfrm>
            <a:off x="9294155" y="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graphicFrame>
        <p:nvGraphicFramePr>
          <p:cNvPr id="9" name="Diagram 8">
            <a:extLst>
              <a:ext uri="{FF2B5EF4-FFF2-40B4-BE49-F238E27FC236}">
                <a16:creationId xmlns:a16="http://schemas.microsoft.com/office/drawing/2014/main" id="{0AF0149B-3E54-4AA1-88C0-38696B8AF5DD}"/>
              </a:ext>
            </a:extLst>
          </p:cNvPr>
          <p:cNvGraphicFramePr/>
          <p:nvPr>
            <p:extLst>
              <p:ext uri="{D42A27DB-BD31-4B8C-83A1-F6EECF244321}">
                <p14:modId xmlns:p14="http://schemas.microsoft.com/office/powerpoint/2010/main" val="293313404"/>
              </p:ext>
            </p:extLst>
          </p:nvPr>
        </p:nvGraphicFramePr>
        <p:xfrm>
          <a:off x="3642685" y="2405853"/>
          <a:ext cx="8128000"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Arrow: Bent 3">
            <a:extLst>
              <a:ext uri="{FF2B5EF4-FFF2-40B4-BE49-F238E27FC236}">
                <a16:creationId xmlns:a16="http://schemas.microsoft.com/office/drawing/2014/main" id="{52CDDC60-19C6-46ED-8C10-F2E40240C81E}"/>
              </a:ext>
            </a:extLst>
          </p:cNvPr>
          <p:cNvSpPr/>
          <p:nvPr/>
        </p:nvSpPr>
        <p:spPr>
          <a:xfrm flipV="1">
            <a:off x="1702965" y="3858936"/>
            <a:ext cx="1182932" cy="163585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20D66249-3A4C-4B76-8D68-2823AE1B375C}"/>
              </a:ext>
            </a:extLst>
          </p:cNvPr>
          <p:cNvSpPr txBox="1"/>
          <p:nvPr/>
        </p:nvSpPr>
        <p:spPr>
          <a:xfrm>
            <a:off x="142612" y="6492875"/>
            <a:ext cx="5484194" cy="261610"/>
          </a:xfrm>
          <a:prstGeom prst="rect">
            <a:avLst/>
          </a:prstGeom>
          <a:noFill/>
        </p:spPr>
        <p:txBody>
          <a:bodyPr wrap="none" rtlCol="0">
            <a:spAutoFit/>
          </a:bodyPr>
          <a:lstStyle/>
          <a:p>
            <a:r>
              <a:rPr lang="en-GB" sz="1100" i="1" dirty="0"/>
              <a:t>Source: Interviews with decision makers in public and private organisations. Work in progress</a:t>
            </a:r>
          </a:p>
        </p:txBody>
      </p:sp>
    </p:spTree>
    <p:extLst>
      <p:ext uri="{BB962C8B-B14F-4D97-AF65-F5344CB8AC3E}">
        <p14:creationId xmlns:p14="http://schemas.microsoft.com/office/powerpoint/2010/main" val="32238316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p:txBody>
          <a:bodyPr/>
          <a:lstStyle/>
          <a:p>
            <a:r>
              <a:rPr lang="en-GB" dirty="0"/>
              <a:t>Virus control and cities and </a:t>
            </a:r>
            <a:br>
              <a:rPr lang="en-GB" dirty="0"/>
            </a:br>
            <a:r>
              <a:rPr lang="en-GB" dirty="0"/>
              <a:t>communities</a:t>
            </a:r>
          </a:p>
        </p:txBody>
      </p:sp>
      <p:sp>
        <p:nvSpPr>
          <p:cNvPr id="7" name="TextBox 6">
            <a:extLst>
              <a:ext uri="{FF2B5EF4-FFF2-40B4-BE49-F238E27FC236}">
                <a16:creationId xmlns:a16="http://schemas.microsoft.com/office/drawing/2014/main" id="{3F4D6090-77B3-4176-92DA-C0DBCA37F554}"/>
              </a:ext>
            </a:extLst>
          </p:cNvPr>
          <p:cNvSpPr txBox="1"/>
          <p:nvPr/>
        </p:nvSpPr>
        <p:spPr>
          <a:xfrm>
            <a:off x="9294155" y="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graphicFrame>
        <p:nvGraphicFramePr>
          <p:cNvPr id="9" name="Diagram 8">
            <a:extLst>
              <a:ext uri="{FF2B5EF4-FFF2-40B4-BE49-F238E27FC236}">
                <a16:creationId xmlns:a16="http://schemas.microsoft.com/office/drawing/2014/main" id="{B1CFA651-3713-4C5A-BEEB-2575310AC761}"/>
              </a:ext>
            </a:extLst>
          </p:cNvPr>
          <p:cNvGraphicFramePr/>
          <p:nvPr>
            <p:extLst>
              <p:ext uri="{D42A27DB-BD31-4B8C-83A1-F6EECF244321}">
                <p14:modId xmlns:p14="http://schemas.microsoft.com/office/powerpoint/2010/main" val="2964289252"/>
              </p:ext>
            </p:extLst>
          </p:nvPr>
        </p:nvGraphicFramePr>
        <p:xfrm>
          <a:off x="325000" y="1238872"/>
          <a:ext cx="5316904" cy="3275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5B446C-37EE-4628-A6B2-066D3E564D16}"/>
              </a:ext>
            </a:extLst>
          </p:cNvPr>
          <p:cNvGraphicFramePr/>
          <p:nvPr>
            <p:extLst>
              <p:ext uri="{D42A27DB-BD31-4B8C-83A1-F6EECF244321}">
                <p14:modId xmlns:p14="http://schemas.microsoft.com/office/powerpoint/2010/main" val="2623644157"/>
              </p:ext>
            </p:extLst>
          </p:nvPr>
        </p:nvGraphicFramePr>
        <p:xfrm>
          <a:off x="4045358" y="2378677"/>
          <a:ext cx="6726108" cy="42717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Bent 11">
            <a:extLst>
              <a:ext uri="{FF2B5EF4-FFF2-40B4-BE49-F238E27FC236}">
                <a16:creationId xmlns:a16="http://schemas.microsoft.com/office/drawing/2014/main" id="{5B9B7071-2CC6-4A9D-A90D-31E5CD782B4E}"/>
              </a:ext>
            </a:extLst>
          </p:cNvPr>
          <p:cNvSpPr/>
          <p:nvPr/>
        </p:nvSpPr>
        <p:spPr>
          <a:xfrm flipV="1">
            <a:off x="1702965" y="3858935"/>
            <a:ext cx="1912690" cy="922789"/>
          </a:xfrm>
          <a:prstGeom prst="bentArrow">
            <a:avLst>
              <a:gd name="adj1" fmla="val 25000"/>
              <a:gd name="adj2" fmla="val 25000"/>
              <a:gd name="adj3" fmla="val 25000"/>
              <a:gd name="adj4" fmla="val 451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Box 12">
            <a:extLst>
              <a:ext uri="{FF2B5EF4-FFF2-40B4-BE49-F238E27FC236}">
                <a16:creationId xmlns:a16="http://schemas.microsoft.com/office/drawing/2014/main" id="{5528B045-EE0D-4A84-B08F-C4CCF2C29297}"/>
              </a:ext>
            </a:extLst>
          </p:cNvPr>
          <p:cNvSpPr txBox="1"/>
          <p:nvPr/>
        </p:nvSpPr>
        <p:spPr>
          <a:xfrm>
            <a:off x="142612" y="6492875"/>
            <a:ext cx="5480988" cy="261610"/>
          </a:xfrm>
          <a:prstGeom prst="rect">
            <a:avLst/>
          </a:prstGeom>
          <a:noFill/>
        </p:spPr>
        <p:txBody>
          <a:bodyPr wrap="none" rtlCol="0">
            <a:spAutoFit/>
          </a:bodyPr>
          <a:lstStyle/>
          <a:p>
            <a:r>
              <a:rPr lang="en-GB" sz="1100" i="1" dirty="0"/>
              <a:t>Source: Interviews with decision makers in public and private organisations. Work in progress</a:t>
            </a:r>
          </a:p>
        </p:txBody>
      </p:sp>
    </p:spTree>
    <p:extLst>
      <p:ext uri="{BB962C8B-B14F-4D97-AF65-F5344CB8AC3E}">
        <p14:creationId xmlns:p14="http://schemas.microsoft.com/office/powerpoint/2010/main" val="352399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5E4DB-83F7-42D3-95FB-857163A79412}"/>
              </a:ext>
            </a:extLst>
          </p:cNvPr>
          <p:cNvSpPr>
            <a:spLocks noGrp="1"/>
          </p:cNvSpPr>
          <p:nvPr>
            <p:ph type="title"/>
          </p:nvPr>
        </p:nvSpPr>
        <p:spPr/>
        <p:txBody>
          <a:bodyPr/>
          <a:lstStyle/>
          <a:p>
            <a:r>
              <a:rPr lang="en-GB" dirty="0"/>
              <a:t>Nitrogen Dioxide Concentration – </a:t>
            </a:r>
            <a:br>
              <a:rPr lang="en-GB" dirty="0"/>
            </a:br>
            <a:r>
              <a:rPr lang="en-GB" dirty="0"/>
              <a:t>Let’s not forget this comparison</a:t>
            </a:r>
          </a:p>
        </p:txBody>
      </p:sp>
      <p:pic>
        <p:nvPicPr>
          <p:cNvPr id="13" name="Content Placeholder 12" descr="A close up of an animal&#10;&#10;Description automatically generated">
            <a:extLst>
              <a:ext uri="{FF2B5EF4-FFF2-40B4-BE49-F238E27FC236}">
                <a16:creationId xmlns:a16="http://schemas.microsoft.com/office/drawing/2014/main" id="{C544A015-E6EE-4852-BFBE-B5E96B489DF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725" y="1902691"/>
            <a:ext cx="10985115" cy="4119418"/>
          </a:xfrm>
        </p:spPr>
      </p:pic>
      <p:sp>
        <p:nvSpPr>
          <p:cNvPr id="14" name="TextBox 13">
            <a:extLst>
              <a:ext uri="{FF2B5EF4-FFF2-40B4-BE49-F238E27FC236}">
                <a16:creationId xmlns:a16="http://schemas.microsoft.com/office/drawing/2014/main" id="{1C3C78B0-E825-4962-9757-6E20990E9D8A}"/>
              </a:ext>
            </a:extLst>
          </p:cNvPr>
          <p:cNvSpPr txBox="1"/>
          <p:nvPr/>
        </p:nvSpPr>
        <p:spPr>
          <a:xfrm>
            <a:off x="655782" y="6234112"/>
            <a:ext cx="2941126" cy="369332"/>
          </a:xfrm>
          <a:prstGeom prst="rect">
            <a:avLst/>
          </a:prstGeom>
          <a:noFill/>
        </p:spPr>
        <p:txBody>
          <a:bodyPr wrap="none" rtlCol="0">
            <a:spAutoFit/>
          </a:bodyPr>
          <a:lstStyle/>
          <a:p>
            <a:r>
              <a:rPr lang="en-GB" dirty="0"/>
              <a:t>Source: European Copernicus</a:t>
            </a:r>
          </a:p>
        </p:txBody>
      </p:sp>
      <p:sp>
        <p:nvSpPr>
          <p:cNvPr id="15" name="TextBox 14">
            <a:extLst>
              <a:ext uri="{FF2B5EF4-FFF2-40B4-BE49-F238E27FC236}">
                <a16:creationId xmlns:a16="http://schemas.microsoft.com/office/drawing/2014/main" id="{F71AA798-C0D7-4B65-83AF-D7F23B29A96D}"/>
              </a:ext>
            </a:extLst>
          </p:cNvPr>
          <p:cNvSpPr txBox="1"/>
          <p:nvPr/>
        </p:nvSpPr>
        <p:spPr>
          <a:xfrm>
            <a:off x="9294155" y="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spTree>
    <p:extLst>
      <p:ext uri="{BB962C8B-B14F-4D97-AF65-F5344CB8AC3E}">
        <p14:creationId xmlns:p14="http://schemas.microsoft.com/office/powerpoint/2010/main" val="1463724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8A5F7-E66E-4E1A-97A5-9EE844DB8B49}"/>
              </a:ext>
            </a:extLst>
          </p:cNvPr>
          <p:cNvSpPr>
            <a:spLocks noGrp="1"/>
          </p:cNvSpPr>
          <p:nvPr>
            <p:ph type="title"/>
          </p:nvPr>
        </p:nvSpPr>
        <p:spPr/>
        <p:txBody>
          <a:bodyPr>
            <a:normAutofit/>
          </a:bodyPr>
          <a:lstStyle/>
          <a:p>
            <a:r>
              <a:rPr lang="en-GB" dirty="0"/>
              <a:t>The technological and </a:t>
            </a:r>
            <a:br>
              <a:rPr lang="en-GB" dirty="0"/>
            </a:br>
            <a:r>
              <a:rPr lang="en-GB" dirty="0"/>
              <a:t>organisational implications of smart working </a:t>
            </a:r>
          </a:p>
        </p:txBody>
      </p:sp>
      <p:graphicFrame>
        <p:nvGraphicFramePr>
          <p:cNvPr id="5" name="Content Placeholder 4">
            <a:extLst>
              <a:ext uri="{FF2B5EF4-FFF2-40B4-BE49-F238E27FC236}">
                <a16:creationId xmlns:a16="http://schemas.microsoft.com/office/drawing/2014/main" id="{BB28D18D-E3EF-4D3B-8D22-01D1A5B1A4D3}"/>
              </a:ext>
            </a:extLst>
          </p:cNvPr>
          <p:cNvGraphicFramePr>
            <a:graphicFrameLocks noGrp="1"/>
          </p:cNvGraphicFramePr>
          <p:nvPr>
            <p:ph idx="1"/>
            <p:extLst>
              <p:ext uri="{D42A27DB-BD31-4B8C-83A1-F6EECF244321}">
                <p14:modId xmlns:p14="http://schemas.microsoft.com/office/powerpoint/2010/main" val="795095395"/>
              </p:ext>
            </p:extLst>
          </p:nvPr>
        </p:nvGraphicFramePr>
        <p:xfrm>
          <a:off x="838200" y="1815922"/>
          <a:ext cx="10515600" cy="4340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5A4E2F50-46C9-4BFD-BB01-2B5E93F01666}"/>
              </a:ext>
            </a:extLst>
          </p:cNvPr>
          <p:cNvSpPr txBox="1"/>
          <p:nvPr/>
        </p:nvSpPr>
        <p:spPr>
          <a:xfrm>
            <a:off x="8882376" y="-11967"/>
            <a:ext cx="3309624" cy="1200329"/>
          </a:xfrm>
          <a:prstGeom prst="rect">
            <a:avLst/>
          </a:prstGeom>
          <a:solidFill>
            <a:srgbClr val="FFFF00"/>
          </a:solidFill>
        </p:spPr>
        <p:txBody>
          <a:bodyPr wrap="none" rtlCol="0">
            <a:spAutoFit/>
          </a:bodyPr>
          <a:lstStyle/>
          <a:p>
            <a:r>
              <a:rPr lang="en-GB" b="1" dirty="0" err="1"/>
              <a:t>Covid</a:t>
            </a:r>
            <a:r>
              <a:rPr lang="en-GB" b="1" dirty="0"/>
              <a:t> 19 Phase 1 and beyond</a:t>
            </a:r>
          </a:p>
          <a:p>
            <a:r>
              <a:rPr lang="en-GB" dirty="0"/>
              <a:t>Does the digital transformation </a:t>
            </a:r>
          </a:p>
          <a:p>
            <a:r>
              <a:rPr lang="en-GB" dirty="0"/>
              <a:t>paradigm need to be re-thought?</a:t>
            </a:r>
          </a:p>
          <a:p>
            <a:endParaRPr lang="en-GB" dirty="0"/>
          </a:p>
        </p:txBody>
      </p:sp>
      <p:sp>
        <p:nvSpPr>
          <p:cNvPr id="8" name="TextBox 7">
            <a:extLst>
              <a:ext uri="{FF2B5EF4-FFF2-40B4-BE49-F238E27FC236}">
                <a16:creationId xmlns:a16="http://schemas.microsoft.com/office/drawing/2014/main" id="{FC7199F8-A5AC-4123-B3DB-8049FF4CA62D}"/>
              </a:ext>
            </a:extLst>
          </p:cNvPr>
          <p:cNvSpPr txBox="1"/>
          <p:nvPr/>
        </p:nvSpPr>
        <p:spPr>
          <a:xfrm>
            <a:off x="142612" y="6492875"/>
            <a:ext cx="5480988" cy="261610"/>
          </a:xfrm>
          <a:prstGeom prst="rect">
            <a:avLst/>
          </a:prstGeom>
          <a:noFill/>
        </p:spPr>
        <p:txBody>
          <a:bodyPr wrap="none" rtlCol="0">
            <a:spAutoFit/>
          </a:bodyPr>
          <a:lstStyle/>
          <a:p>
            <a:r>
              <a:rPr lang="en-GB" sz="1100" i="1" dirty="0"/>
              <a:t>Source: Interviews with decision makers in public and private organisations. Work in progress</a:t>
            </a:r>
          </a:p>
        </p:txBody>
      </p:sp>
    </p:spTree>
    <p:extLst>
      <p:ext uri="{BB962C8B-B14F-4D97-AF65-F5344CB8AC3E}">
        <p14:creationId xmlns:p14="http://schemas.microsoft.com/office/powerpoint/2010/main" val="2421702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a:xfrm>
            <a:off x="548081" y="247288"/>
            <a:ext cx="10515600" cy="1325563"/>
          </a:xfrm>
        </p:spPr>
        <p:txBody>
          <a:bodyPr>
            <a:normAutofit fontScale="90000"/>
          </a:bodyPr>
          <a:lstStyle/>
          <a:p>
            <a:r>
              <a:rPr lang="en-GB" dirty="0"/>
              <a:t>Smart Working is the opportunity </a:t>
            </a:r>
            <a:br>
              <a:rPr lang="en-GB" dirty="0"/>
            </a:br>
            <a:r>
              <a:rPr lang="en-GB" dirty="0"/>
              <a:t>of re-thinking mobility and living spaces</a:t>
            </a:r>
            <a:br>
              <a:rPr lang="en-GB" dirty="0"/>
            </a:br>
            <a:r>
              <a:rPr lang="en-GB" dirty="0"/>
              <a:t>in name of quality of life</a:t>
            </a:r>
          </a:p>
        </p:txBody>
      </p:sp>
      <p:pic>
        <p:nvPicPr>
          <p:cNvPr id="4" name="Picture 3" descr="A close up of a map&#10;&#10;Description automatically generated">
            <a:extLst>
              <a:ext uri="{FF2B5EF4-FFF2-40B4-BE49-F238E27FC236}">
                <a16:creationId xmlns:a16="http://schemas.microsoft.com/office/drawing/2014/main" id="{3792D06F-54C6-4FD3-A744-7DA98F69BE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278" y="1690688"/>
            <a:ext cx="4140895" cy="4122491"/>
          </a:xfrm>
          <a:prstGeom prst="rect">
            <a:avLst/>
          </a:prstGeom>
        </p:spPr>
      </p:pic>
      <p:sp>
        <p:nvSpPr>
          <p:cNvPr id="5" name="Rectangle 4">
            <a:extLst>
              <a:ext uri="{FF2B5EF4-FFF2-40B4-BE49-F238E27FC236}">
                <a16:creationId xmlns:a16="http://schemas.microsoft.com/office/drawing/2014/main" id="{BE6C13EB-3CE9-4796-8B2F-8B19125343FB}"/>
              </a:ext>
            </a:extLst>
          </p:cNvPr>
          <p:cNvSpPr/>
          <p:nvPr/>
        </p:nvSpPr>
        <p:spPr>
          <a:xfrm>
            <a:off x="548081" y="6048853"/>
            <a:ext cx="6096000" cy="646331"/>
          </a:xfrm>
          <a:prstGeom prst="rect">
            <a:avLst/>
          </a:prstGeom>
        </p:spPr>
        <p:txBody>
          <a:bodyPr>
            <a:spAutoFit/>
          </a:bodyPr>
          <a:lstStyle/>
          <a:p>
            <a:r>
              <a:rPr lang="en-GB" b="1" dirty="0">
                <a:solidFill>
                  <a:srgbClr val="303030"/>
                </a:solidFill>
                <a:latin typeface="var(--font-headings,&quot;PT Sans&quot;,-apple-system,BlinkMacSystemFont,&quot;Segoe UI&quot;,&quot;Roboto&quot;,&quot;Oxygen&quot;,&quot;Ubuntu&quot;,&quot;Cantarell&quot;,&quot;Fira Sans&quot;,&quot;Droid Sans&quot;,&quot;Helvetica Neue&quot;,sans-serif)"/>
              </a:rPr>
              <a:t>Jack </a:t>
            </a:r>
            <a:r>
              <a:rPr lang="en-GB" b="1" dirty="0" err="1">
                <a:solidFill>
                  <a:srgbClr val="303030"/>
                </a:solidFill>
                <a:latin typeface="var(--font-headings,&quot;PT Sans&quot;,-apple-system,BlinkMacSystemFont,&quot;Segoe UI&quot;,&quot;Roboto&quot;,&quot;Oxygen&quot;,&quot;Ubuntu&quot;,&quot;Cantarell&quot;,&quot;Fira Sans&quot;,&quot;Droid Sans&quot;,&quot;Helvetica Neue&quot;,sans-serif)"/>
              </a:rPr>
              <a:t>M.Miles</a:t>
            </a:r>
            <a:r>
              <a:rPr lang="en-GB" b="1" dirty="0">
                <a:solidFill>
                  <a:srgbClr val="303030"/>
                </a:solidFill>
                <a:latin typeface="var(--font-headings,&quot;PT Sans&quot;,-apple-system,BlinkMacSystemFont,&quot;Segoe UI&quot;,&quot;Roboto&quot;,&quot;Oxygen&quot;,&quot;Ubuntu&quot;,&quot;Cantarell&quot;,&quot;Fira Sans&quot;,&quot;Droid Sans&quot;,&quot;Helvetica Neue&quot;,sans-serif)"/>
              </a:rPr>
              <a:t> “</a:t>
            </a:r>
            <a:r>
              <a:rPr lang="en-GB" b="1" i="1" dirty="0">
                <a:solidFill>
                  <a:srgbClr val="303030"/>
                </a:solidFill>
                <a:latin typeface="var(--font-headings,&quot;PT Sans&quot;,-apple-system,BlinkMacSystemFont,&quot;Segoe UI&quot;,&quot;Roboto&quot;,&quot;Oxygen&quot;,&quot;Ubuntu&quot;,&quot;Cantarell&quot;,&quot;Fira Sans&quot;,&quot;Droid Sans&quot;,&quot;Helvetica Neue&quot;,sans-serif)"/>
              </a:rPr>
              <a:t>Telecommunications and Organisational Decentralisation</a:t>
            </a:r>
            <a:r>
              <a:rPr lang="en-GB" b="1" dirty="0">
                <a:solidFill>
                  <a:srgbClr val="303030"/>
                </a:solidFill>
                <a:latin typeface="var(--font-headings,&quot;PT Sans&quot;,-apple-system,BlinkMacSystemFont,&quot;Segoe UI&quot;,&quot;Roboto&quot;,&quot;Oxygen&quot;,&quot;Ubuntu&quot;,&quot;Cantarell&quot;,&quot;Fira Sans&quot;,&quot;Droid Sans&quot;,&quot;Helvetica Neue&quot;,sans-serif)"/>
              </a:rPr>
              <a:t>” IEEE Transactions in Communications, 1975</a:t>
            </a:r>
            <a:endParaRPr lang="en-GB" dirty="0"/>
          </a:p>
        </p:txBody>
      </p:sp>
      <p:sp>
        <p:nvSpPr>
          <p:cNvPr id="6" name="Rectangle 5">
            <a:extLst>
              <a:ext uri="{FF2B5EF4-FFF2-40B4-BE49-F238E27FC236}">
                <a16:creationId xmlns:a16="http://schemas.microsoft.com/office/drawing/2014/main" id="{93A667D2-9BA7-4AD5-B070-40EBC3BE5C3C}"/>
              </a:ext>
            </a:extLst>
          </p:cNvPr>
          <p:cNvSpPr/>
          <p:nvPr/>
        </p:nvSpPr>
        <p:spPr>
          <a:xfrm>
            <a:off x="5891868" y="2245396"/>
            <a:ext cx="6096000" cy="2585323"/>
          </a:xfrm>
          <a:prstGeom prst="rect">
            <a:avLst/>
          </a:prstGeom>
        </p:spPr>
        <p:txBody>
          <a:bodyPr>
            <a:spAutoFit/>
          </a:bodyPr>
          <a:lstStyle/>
          <a:p>
            <a:r>
              <a:rPr lang="en-GB" dirty="0">
                <a:solidFill>
                  <a:srgbClr val="303030"/>
                </a:solidFill>
                <a:latin typeface="Arial" panose="020B0604020202020204" pitchFamily="34" charset="0"/>
              </a:rPr>
              <a:t>The paper “discusses the definition of telecommuting in two different contexts. In the first case, telecommuting is considered in the abstract, in the context of a variety of other remote work options. Each of the remote work options is classified according to its transportation impacts and its managerial implications. In the second case, the efforts of one group to define non-home-based telecommuting in the specific context of an air quality regulation designed to reduce travel are documented.”</a:t>
            </a:r>
            <a:endParaRPr lang="en-GB" dirty="0"/>
          </a:p>
        </p:txBody>
      </p:sp>
      <p:sp>
        <p:nvSpPr>
          <p:cNvPr id="8" name="Rectangle 7">
            <a:extLst>
              <a:ext uri="{FF2B5EF4-FFF2-40B4-BE49-F238E27FC236}">
                <a16:creationId xmlns:a16="http://schemas.microsoft.com/office/drawing/2014/main" id="{C6586ACA-D705-4B81-A870-065823E00DE2}"/>
              </a:ext>
            </a:extLst>
          </p:cNvPr>
          <p:cNvSpPr/>
          <p:nvPr/>
        </p:nvSpPr>
        <p:spPr>
          <a:xfrm>
            <a:off x="5919652" y="4837400"/>
            <a:ext cx="5883662" cy="646331"/>
          </a:xfrm>
          <a:prstGeom prst="rect">
            <a:avLst/>
          </a:prstGeom>
        </p:spPr>
        <p:txBody>
          <a:bodyPr wrap="none">
            <a:spAutoFit/>
          </a:bodyPr>
          <a:lstStyle/>
          <a:p>
            <a:r>
              <a:rPr lang="en-GB" b="1" dirty="0">
                <a:solidFill>
                  <a:srgbClr val="303030"/>
                </a:solidFill>
                <a:latin typeface="Arial" panose="020B0604020202020204" pitchFamily="34" charset="0"/>
              </a:rPr>
              <a:t>Patricia L </a:t>
            </a:r>
            <a:r>
              <a:rPr lang="en-GB" b="1" dirty="0" err="1">
                <a:solidFill>
                  <a:srgbClr val="303030"/>
                </a:solidFill>
                <a:latin typeface="Arial" panose="020B0604020202020204" pitchFamily="34" charset="0"/>
              </a:rPr>
              <a:t>Mokhtarian</a:t>
            </a:r>
            <a:r>
              <a:rPr lang="en-GB" b="1" dirty="0">
                <a:solidFill>
                  <a:srgbClr val="303030"/>
                </a:solidFill>
                <a:latin typeface="Arial" panose="020B0604020202020204" pitchFamily="34" charset="0"/>
              </a:rPr>
              <a:t>, </a:t>
            </a:r>
            <a:r>
              <a:rPr lang="en-GB" b="1" i="1" dirty="0"/>
              <a:t>Defining Telecommuting</a:t>
            </a:r>
            <a:r>
              <a:rPr lang="en-GB" b="1" dirty="0"/>
              <a:t>, Georgia </a:t>
            </a:r>
          </a:p>
          <a:p>
            <a:r>
              <a:rPr lang="en-GB" b="1" dirty="0"/>
              <a:t>Institute of Technology, 1991.</a:t>
            </a:r>
          </a:p>
        </p:txBody>
      </p:sp>
      <p:sp>
        <p:nvSpPr>
          <p:cNvPr id="10" name="TextBox 9">
            <a:extLst>
              <a:ext uri="{FF2B5EF4-FFF2-40B4-BE49-F238E27FC236}">
                <a16:creationId xmlns:a16="http://schemas.microsoft.com/office/drawing/2014/main" id="{B76CB116-2563-4905-A024-48B2031A7B03}"/>
              </a:ext>
            </a:extLst>
          </p:cNvPr>
          <p:cNvSpPr txBox="1"/>
          <p:nvPr/>
        </p:nvSpPr>
        <p:spPr>
          <a:xfrm>
            <a:off x="8861483" y="54919"/>
            <a:ext cx="3309624" cy="1200329"/>
          </a:xfrm>
          <a:prstGeom prst="rect">
            <a:avLst/>
          </a:prstGeom>
          <a:solidFill>
            <a:srgbClr val="FFFF00"/>
          </a:solidFill>
        </p:spPr>
        <p:txBody>
          <a:bodyPr wrap="none" rtlCol="0">
            <a:spAutoFit/>
          </a:bodyPr>
          <a:lstStyle/>
          <a:p>
            <a:r>
              <a:rPr lang="en-GB" b="1" dirty="0" err="1"/>
              <a:t>Covid</a:t>
            </a:r>
            <a:r>
              <a:rPr lang="en-GB" b="1" dirty="0"/>
              <a:t> 19 Phase 1 and beyond</a:t>
            </a:r>
          </a:p>
          <a:p>
            <a:r>
              <a:rPr lang="en-GB" dirty="0"/>
              <a:t>Does the digital transformation </a:t>
            </a:r>
          </a:p>
          <a:p>
            <a:r>
              <a:rPr lang="en-GB" dirty="0"/>
              <a:t>paradigm need to be re-thought?</a:t>
            </a:r>
          </a:p>
          <a:p>
            <a:endParaRPr lang="en-GB" dirty="0"/>
          </a:p>
        </p:txBody>
      </p:sp>
    </p:spTree>
    <p:extLst>
      <p:ext uri="{BB962C8B-B14F-4D97-AF65-F5344CB8AC3E}">
        <p14:creationId xmlns:p14="http://schemas.microsoft.com/office/powerpoint/2010/main" val="1525969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A3C38-A598-4882-ACB3-B263F25E0DD8}"/>
              </a:ext>
            </a:extLst>
          </p:cNvPr>
          <p:cNvSpPr>
            <a:spLocks noGrp="1"/>
          </p:cNvSpPr>
          <p:nvPr>
            <p:ph type="title"/>
          </p:nvPr>
        </p:nvSpPr>
        <p:spPr>
          <a:xfrm>
            <a:off x="95075" y="239004"/>
            <a:ext cx="10515600" cy="1325563"/>
          </a:xfrm>
        </p:spPr>
        <p:txBody>
          <a:bodyPr>
            <a:normAutofit/>
          </a:bodyPr>
          <a:lstStyle/>
          <a:p>
            <a:r>
              <a:rPr lang="en-GB" dirty="0"/>
              <a:t>How can digital transformation help?</a:t>
            </a:r>
          </a:p>
        </p:txBody>
      </p:sp>
      <p:sp>
        <p:nvSpPr>
          <p:cNvPr id="10" name="TextBox 9">
            <a:extLst>
              <a:ext uri="{FF2B5EF4-FFF2-40B4-BE49-F238E27FC236}">
                <a16:creationId xmlns:a16="http://schemas.microsoft.com/office/drawing/2014/main" id="{B76CB116-2563-4905-A024-48B2031A7B03}"/>
              </a:ext>
            </a:extLst>
          </p:cNvPr>
          <p:cNvSpPr txBox="1"/>
          <p:nvPr/>
        </p:nvSpPr>
        <p:spPr>
          <a:xfrm>
            <a:off x="8882376" y="0"/>
            <a:ext cx="3309624" cy="1200329"/>
          </a:xfrm>
          <a:prstGeom prst="rect">
            <a:avLst/>
          </a:prstGeom>
          <a:solidFill>
            <a:srgbClr val="FFFF00"/>
          </a:solidFill>
        </p:spPr>
        <p:txBody>
          <a:bodyPr wrap="none" rtlCol="0">
            <a:spAutoFit/>
          </a:bodyPr>
          <a:lstStyle/>
          <a:p>
            <a:r>
              <a:rPr lang="en-GB" b="1" dirty="0" err="1"/>
              <a:t>Covid</a:t>
            </a:r>
            <a:r>
              <a:rPr lang="en-GB" b="1" dirty="0"/>
              <a:t> 19 Phase 1 and beyond</a:t>
            </a:r>
          </a:p>
          <a:p>
            <a:r>
              <a:rPr lang="en-GB" dirty="0"/>
              <a:t>Does the digital transformation </a:t>
            </a:r>
          </a:p>
          <a:p>
            <a:r>
              <a:rPr lang="en-GB" dirty="0"/>
              <a:t>paradigm need to be re-thought?</a:t>
            </a:r>
          </a:p>
          <a:p>
            <a:endParaRPr lang="en-GB" dirty="0"/>
          </a:p>
        </p:txBody>
      </p:sp>
      <p:graphicFrame>
        <p:nvGraphicFramePr>
          <p:cNvPr id="3" name="Diagram 2">
            <a:extLst>
              <a:ext uri="{FF2B5EF4-FFF2-40B4-BE49-F238E27FC236}">
                <a16:creationId xmlns:a16="http://schemas.microsoft.com/office/drawing/2014/main" id="{0628AC4D-00A5-4049-8986-C71B52592E23}"/>
              </a:ext>
            </a:extLst>
          </p:cNvPr>
          <p:cNvGraphicFramePr/>
          <p:nvPr>
            <p:extLst>
              <p:ext uri="{D42A27DB-BD31-4B8C-83A1-F6EECF244321}">
                <p14:modId xmlns:p14="http://schemas.microsoft.com/office/powerpoint/2010/main" val="2278276939"/>
              </p:ext>
            </p:extLst>
          </p:nvPr>
        </p:nvGraphicFramePr>
        <p:xfrm>
          <a:off x="1252523" y="1803571"/>
          <a:ext cx="10122949" cy="42783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AADCF851-6941-493E-9D7E-4567803BFE37}"/>
              </a:ext>
            </a:extLst>
          </p:cNvPr>
          <p:cNvSpPr txBox="1"/>
          <p:nvPr/>
        </p:nvSpPr>
        <p:spPr>
          <a:xfrm>
            <a:off x="142612" y="6492875"/>
            <a:ext cx="5480988" cy="261610"/>
          </a:xfrm>
          <a:prstGeom prst="rect">
            <a:avLst/>
          </a:prstGeom>
          <a:noFill/>
        </p:spPr>
        <p:txBody>
          <a:bodyPr wrap="none" rtlCol="0">
            <a:spAutoFit/>
          </a:bodyPr>
          <a:lstStyle/>
          <a:p>
            <a:r>
              <a:rPr lang="en-GB" sz="1100" i="1" dirty="0"/>
              <a:t>Source: Interviews with decision makers in public and private organisations. Work in progress</a:t>
            </a:r>
          </a:p>
        </p:txBody>
      </p:sp>
    </p:spTree>
    <p:extLst>
      <p:ext uri="{BB962C8B-B14F-4D97-AF65-F5344CB8AC3E}">
        <p14:creationId xmlns:p14="http://schemas.microsoft.com/office/powerpoint/2010/main" val="2152583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05F22-901B-4592-8925-F89D3BAA1B40}"/>
              </a:ext>
            </a:extLst>
          </p:cNvPr>
          <p:cNvSpPr>
            <a:spLocks noGrp="1"/>
          </p:cNvSpPr>
          <p:nvPr>
            <p:ph type="title"/>
          </p:nvPr>
        </p:nvSpPr>
        <p:spPr>
          <a:xfrm>
            <a:off x="662031" y="145342"/>
            <a:ext cx="10515600" cy="1325563"/>
          </a:xfrm>
        </p:spPr>
        <p:txBody>
          <a:bodyPr/>
          <a:lstStyle/>
          <a:p>
            <a:r>
              <a:rPr lang="en-GB" dirty="0"/>
              <a:t>Conclusions</a:t>
            </a:r>
          </a:p>
        </p:txBody>
      </p:sp>
      <p:sp>
        <p:nvSpPr>
          <p:cNvPr id="4" name="Arrow: Right 3">
            <a:extLst>
              <a:ext uri="{FF2B5EF4-FFF2-40B4-BE49-F238E27FC236}">
                <a16:creationId xmlns:a16="http://schemas.microsoft.com/office/drawing/2014/main" id="{5750BCB4-20F1-4676-AF7B-3D501D029B4F}"/>
              </a:ext>
            </a:extLst>
          </p:cNvPr>
          <p:cNvSpPr/>
          <p:nvPr/>
        </p:nvSpPr>
        <p:spPr>
          <a:xfrm>
            <a:off x="2335383" y="3567770"/>
            <a:ext cx="978408" cy="9227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Right 6">
            <a:extLst>
              <a:ext uri="{FF2B5EF4-FFF2-40B4-BE49-F238E27FC236}">
                <a16:creationId xmlns:a16="http://schemas.microsoft.com/office/drawing/2014/main" id="{483E6C0B-C957-4915-B492-8D91FCC016D5}"/>
              </a:ext>
            </a:extLst>
          </p:cNvPr>
          <p:cNvSpPr/>
          <p:nvPr/>
        </p:nvSpPr>
        <p:spPr>
          <a:xfrm>
            <a:off x="6211636" y="3516303"/>
            <a:ext cx="978408" cy="9742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279844FA-A0FF-4FC4-8965-C58D1EA350CD}"/>
              </a:ext>
            </a:extLst>
          </p:cNvPr>
          <p:cNvSpPr txBox="1"/>
          <p:nvPr/>
        </p:nvSpPr>
        <p:spPr>
          <a:xfrm>
            <a:off x="0" y="3428999"/>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
        <p:nvSpPr>
          <p:cNvPr id="9" name="TextBox 8">
            <a:extLst>
              <a:ext uri="{FF2B5EF4-FFF2-40B4-BE49-F238E27FC236}">
                <a16:creationId xmlns:a16="http://schemas.microsoft.com/office/drawing/2014/main" id="{2EA95C1A-E67C-4015-9C50-04CF55B80FD1}"/>
              </a:ext>
            </a:extLst>
          </p:cNvPr>
          <p:cNvSpPr txBox="1"/>
          <p:nvPr/>
        </p:nvSpPr>
        <p:spPr>
          <a:xfrm>
            <a:off x="3313791" y="3429000"/>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sp>
        <p:nvSpPr>
          <p:cNvPr id="10" name="TextBox 9">
            <a:extLst>
              <a:ext uri="{FF2B5EF4-FFF2-40B4-BE49-F238E27FC236}">
                <a16:creationId xmlns:a16="http://schemas.microsoft.com/office/drawing/2014/main" id="{9C86C384-15F6-479B-8EB6-2A33861D70C1}"/>
              </a:ext>
            </a:extLst>
          </p:cNvPr>
          <p:cNvSpPr txBox="1"/>
          <p:nvPr/>
        </p:nvSpPr>
        <p:spPr>
          <a:xfrm>
            <a:off x="7190044" y="3403265"/>
            <a:ext cx="3309624" cy="1200329"/>
          </a:xfrm>
          <a:prstGeom prst="rect">
            <a:avLst/>
          </a:prstGeom>
          <a:solidFill>
            <a:srgbClr val="FFFF00"/>
          </a:solidFill>
        </p:spPr>
        <p:txBody>
          <a:bodyPr wrap="none" rtlCol="0">
            <a:spAutoFit/>
          </a:bodyPr>
          <a:lstStyle/>
          <a:p>
            <a:r>
              <a:rPr lang="en-GB" b="1" dirty="0" err="1"/>
              <a:t>Covid</a:t>
            </a:r>
            <a:r>
              <a:rPr lang="en-GB" b="1" dirty="0"/>
              <a:t> 19 Phase 1 and beyond</a:t>
            </a:r>
          </a:p>
          <a:p>
            <a:r>
              <a:rPr lang="en-GB" dirty="0"/>
              <a:t>Does the digital transformation </a:t>
            </a:r>
          </a:p>
          <a:p>
            <a:r>
              <a:rPr lang="en-GB" dirty="0"/>
              <a:t>paradigm need to be re-thought?</a:t>
            </a:r>
          </a:p>
          <a:p>
            <a:endParaRPr lang="en-GB" dirty="0"/>
          </a:p>
        </p:txBody>
      </p:sp>
      <p:sp>
        <p:nvSpPr>
          <p:cNvPr id="3" name="TextBox 2">
            <a:extLst>
              <a:ext uri="{FF2B5EF4-FFF2-40B4-BE49-F238E27FC236}">
                <a16:creationId xmlns:a16="http://schemas.microsoft.com/office/drawing/2014/main" id="{EC4E280E-D929-4740-856E-8DA9B1804A0A}"/>
              </a:ext>
            </a:extLst>
          </p:cNvPr>
          <p:cNvSpPr txBox="1"/>
          <p:nvPr/>
        </p:nvSpPr>
        <p:spPr>
          <a:xfrm>
            <a:off x="3353641" y="1128683"/>
            <a:ext cx="3229923" cy="2862322"/>
          </a:xfrm>
          <a:prstGeom prst="rect">
            <a:avLst/>
          </a:prstGeom>
          <a:noFill/>
        </p:spPr>
        <p:txBody>
          <a:bodyPr wrap="none" rtlCol="0">
            <a:spAutoFit/>
          </a:bodyPr>
          <a:lstStyle/>
          <a:p>
            <a:pPr marL="285750" indent="-285750">
              <a:buFont typeface="Arial" panose="020B0604020202020204" pitchFamily="34" charset="0"/>
              <a:buChar char="•"/>
            </a:pPr>
            <a:r>
              <a:rPr lang="en-GB" dirty="0"/>
              <a:t>Emerging digital technologies</a:t>
            </a:r>
          </a:p>
          <a:p>
            <a:r>
              <a:rPr lang="en-GB" dirty="0"/>
              <a:t>have shown their value in a </a:t>
            </a:r>
          </a:p>
          <a:p>
            <a:r>
              <a:rPr lang="en-GB" dirty="0"/>
              <a:t>state of emergency like </a:t>
            </a:r>
            <a:r>
              <a:rPr lang="en-GB" dirty="0" err="1"/>
              <a:t>Covid</a:t>
            </a:r>
            <a:r>
              <a:rPr lang="en-GB" dirty="0"/>
              <a:t> 19</a:t>
            </a:r>
          </a:p>
          <a:p>
            <a:r>
              <a:rPr lang="en-GB" dirty="0"/>
              <a:t>lockdown.</a:t>
            </a:r>
          </a:p>
          <a:p>
            <a:pPr marL="285750" indent="-285750">
              <a:buFont typeface="Arial" panose="020B0604020202020204" pitchFamily="34" charset="0"/>
              <a:buChar char="•"/>
            </a:pPr>
            <a:r>
              <a:rPr lang="en-GB" dirty="0"/>
              <a:t>They have also shown the</a:t>
            </a:r>
          </a:p>
          <a:p>
            <a:r>
              <a:rPr lang="en-GB" dirty="0"/>
              <a:t>potential of exploring new ways</a:t>
            </a:r>
          </a:p>
          <a:p>
            <a:r>
              <a:rPr lang="en-GB" dirty="0"/>
              <a:t>of organising living and working</a:t>
            </a:r>
          </a:p>
          <a:p>
            <a:r>
              <a:rPr lang="en-GB" dirty="0"/>
              <a:t>communities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11" name="TextBox 10">
            <a:extLst>
              <a:ext uri="{FF2B5EF4-FFF2-40B4-BE49-F238E27FC236}">
                <a16:creationId xmlns:a16="http://schemas.microsoft.com/office/drawing/2014/main" id="{B3E43CB1-6886-4480-9340-286A1CC96EA3}"/>
              </a:ext>
            </a:extLst>
          </p:cNvPr>
          <p:cNvSpPr txBox="1"/>
          <p:nvPr/>
        </p:nvSpPr>
        <p:spPr>
          <a:xfrm>
            <a:off x="7137050" y="318259"/>
            <a:ext cx="3722942" cy="3693319"/>
          </a:xfrm>
          <a:prstGeom prst="rect">
            <a:avLst/>
          </a:prstGeom>
          <a:noFill/>
        </p:spPr>
        <p:txBody>
          <a:bodyPr wrap="none" rtlCol="0">
            <a:spAutoFit/>
          </a:bodyPr>
          <a:lstStyle/>
          <a:p>
            <a:pPr marL="285750" indent="-285750">
              <a:buFont typeface="Arial" panose="020B0604020202020204" pitchFamily="34" charset="0"/>
              <a:buChar char="•"/>
            </a:pPr>
            <a:r>
              <a:rPr lang="en-GB" dirty="0"/>
              <a:t>Emerging digital technologies </a:t>
            </a:r>
          </a:p>
          <a:p>
            <a:r>
              <a:rPr lang="en-GB" dirty="0"/>
              <a:t>can support organisations.</a:t>
            </a:r>
          </a:p>
          <a:p>
            <a:pPr marL="285750" indent="-285750">
              <a:buFont typeface="Arial" panose="020B0604020202020204" pitchFamily="34" charset="0"/>
              <a:buChar char="•"/>
            </a:pPr>
            <a:r>
              <a:rPr lang="en-GB" dirty="0"/>
              <a:t>But, this is also an opportunity</a:t>
            </a:r>
          </a:p>
          <a:p>
            <a:r>
              <a:rPr lang="en-GB" dirty="0"/>
              <a:t>to design sustainable and secure </a:t>
            </a:r>
          </a:p>
          <a:p>
            <a:r>
              <a:rPr lang="en-GB" dirty="0"/>
              <a:t>digital transformation strategies for</a:t>
            </a:r>
          </a:p>
          <a:p>
            <a:r>
              <a:rPr lang="en-GB" dirty="0"/>
              <a:t>new working and living spaces.</a:t>
            </a:r>
          </a:p>
          <a:p>
            <a:pPr marL="285750" indent="-285750">
              <a:buFont typeface="Arial" panose="020B0604020202020204" pitchFamily="34" charset="0"/>
              <a:buChar char="•"/>
            </a:pPr>
            <a:r>
              <a:rPr lang="en-GB" dirty="0"/>
              <a:t>Many other issues to address: </a:t>
            </a:r>
          </a:p>
          <a:p>
            <a:r>
              <a:rPr lang="en-GB" dirty="0"/>
              <a:t>	- innovation collaboration</a:t>
            </a:r>
          </a:p>
          <a:p>
            <a:r>
              <a:rPr lang="en-GB" dirty="0"/>
              <a:t>	- global dynamics</a:t>
            </a:r>
          </a:p>
          <a:p>
            <a:r>
              <a:rPr lang="en-GB" dirty="0"/>
              <a:t>         - investing in digital technologies</a:t>
            </a:r>
          </a:p>
          <a:p>
            <a:r>
              <a:rPr lang="en-GB" dirty="0"/>
              <a:t>         - role of Europ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6" name="Rectangle 5">
            <a:extLst>
              <a:ext uri="{FF2B5EF4-FFF2-40B4-BE49-F238E27FC236}">
                <a16:creationId xmlns:a16="http://schemas.microsoft.com/office/drawing/2014/main" id="{A0F255CF-D9FB-4F01-8331-3BA3EFF430F0}"/>
              </a:ext>
            </a:extLst>
          </p:cNvPr>
          <p:cNvSpPr/>
          <p:nvPr/>
        </p:nvSpPr>
        <p:spPr>
          <a:xfrm>
            <a:off x="7190044" y="5734592"/>
            <a:ext cx="3309623" cy="91440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ost-</a:t>
            </a:r>
            <a:r>
              <a:rPr lang="en-GB" dirty="0" err="1"/>
              <a:t>Covid</a:t>
            </a:r>
            <a:r>
              <a:rPr lang="en-GB" dirty="0"/>
              <a:t> 19 Phase</a:t>
            </a:r>
          </a:p>
          <a:p>
            <a:pPr algn="ctr"/>
            <a:r>
              <a:rPr lang="en-GB" dirty="0"/>
              <a:t>Can we take the all experience and build a different view? </a:t>
            </a:r>
          </a:p>
        </p:txBody>
      </p:sp>
      <p:sp>
        <p:nvSpPr>
          <p:cNvPr id="13" name="Arrow: Right 12">
            <a:extLst>
              <a:ext uri="{FF2B5EF4-FFF2-40B4-BE49-F238E27FC236}">
                <a16:creationId xmlns:a16="http://schemas.microsoft.com/office/drawing/2014/main" id="{F2FF9526-9FE8-4656-8F8C-264C0DB4A08F}"/>
              </a:ext>
            </a:extLst>
          </p:cNvPr>
          <p:cNvSpPr/>
          <p:nvPr/>
        </p:nvSpPr>
        <p:spPr>
          <a:xfrm rot="5400000">
            <a:off x="8355651" y="4926777"/>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Bent-Up 15">
            <a:extLst>
              <a:ext uri="{FF2B5EF4-FFF2-40B4-BE49-F238E27FC236}">
                <a16:creationId xmlns:a16="http://schemas.microsoft.com/office/drawing/2014/main" id="{155E830A-DFF6-4345-804B-3FB3758DDA57}"/>
              </a:ext>
            </a:extLst>
          </p:cNvPr>
          <p:cNvSpPr/>
          <p:nvPr/>
        </p:nvSpPr>
        <p:spPr>
          <a:xfrm flipH="1">
            <a:off x="1206900" y="4629328"/>
            <a:ext cx="7523403" cy="73152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5782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05F22-901B-4592-8925-F89D3BAA1B40}"/>
              </a:ext>
            </a:extLst>
          </p:cNvPr>
          <p:cNvSpPr>
            <a:spLocks noGrp="1"/>
          </p:cNvSpPr>
          <p:nvPr>
            <p:ph type="title"/>
          </p:nvPr>
        </p:nvSpPr>
        <p:spPr/>
        <p:txBody>
          <a:bodyPr/>
          <a:lstStyle/>
          <a:p>
            <a:r>
              <a:rPr lang="en-GB" dirty="0"/>
              <a:t>Agenda</a:t>
            </a:r>
          </a:p>
        </p:txBody>
      </p:sp>
      <p:sp>
        <p:nvSpPr>
          <p:cNvPr id="4" name="Arrow: Right 3">
            <a:extLst>
              <a:ext uri="{FF2B5EF4-FFF2-40B4-BE49-F238E27FC236}">
                <a16:creationId xmlns:a16="http://schemas.microsoft.com/office/drawing/2014/main" id="{5750BCB4-20F1-4676-AF7B-3D501D029B4F}"/>
              </a:ext>
            </a:extLst>
          </p:cNvPr>
          <p:cNvSpPr/>
          <p:nvPr/>
        </p:nvSpPr>
        <p:spPr>
          <a:xfrm>
            <a:off x="3028426" y="3238150"/>
            <a:ext cx="978408" cy="9227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Right 6">
            <a:extLst>
              <a:ext uri="{FF2B5EF4-FFF2-40B4-BE49-F238E27FC236}">
                <a16:creationId xmlns:a16="http://schemas.microsoft.com/office/drawing/2014/main" id="{483E6C0B-C957-4915-B492-8D91FCC016D5}"/>
              </a:ext>
            </a:extLst>
          </p:cNvPr>
          <p:cNvSpPr/>
          <p:nvPr/>
        </p:nvSpPr>
        <p:spPr>
          <a:xfrm>
            <a:off x="7333377" y="3169337"/>
            <a:ext cx="978408" cy="9742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279844FA-A0FF-4FC4-8965-C58D1EA350CD}"/>
              </a:ext>
            </a:extLst>
          </p:cNvPr>
          <p:cNvSpPr txBox="1"/>
          <p:nvPr/>
        </p:nvSpPr>
        <p:spPr>
          <a:xfrm>
            <a:off x="302003" y="3169337"/>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
        <p:nvSpPr>
          <p:cNvPr id="9" name="TextBox 8">
            <a:extLst>
              <a:ext uri="{FF2B5EF4-FFF2-40B4-BE49-F238E27FC236}">
                <a16:creationId xmlns:a16="http://schemas.microsoft.com/office/drawing/2014/main" id="{2EA95C1A-E67C-4015-9C50-04CF55B80FD1}"/>
              </a:ext>
            </a:extLst>
          </p:cNvPr>
          <p:cNvSpPr txBox="1"/>
          <p:nvPr/>
        </p:nvSpPr>
        <p:spPr>
          <a:xfrm>
            <a:off x="4301308" y="3169335"/>
            <a:ext cx="2897845" cy="1200329"/>
          </a:xfrm>
          <a:prstGeom prst="rect">
            <a:avLst/>
          </a:prstGeom>
          <a:solidFill>
            <a:srgbClr val="FF0000"/>
          </a:solidFill>
          <a:ln>
            <a:solidFill>
              <a:srgbClr val="FF0000"/>
            </a:solidFill>
          </a:ln>
        </p:spPr>
        <p:txBody>
          <a:bodyPr wrap="none" rtlCol="0">
            <a:spAutoFit/>
          </a:bodyPr>
          <a:lstStyle/>
          <a:p>
            <a:r>
              <a:rPr lang="en-GB" b="1" dirty="0" err="1"/>
              <a:t>Covid</a:t>
            </a:r>
            <a:r>
              <a:rPr lang="en-GB" b="1" dirty="0"/>
              <a:t> 19 Lockdown Phase</a:t>
            </a:r>
          </a:p>
          <a:p>
            <a:r>
              <a:rPr lang="en-GB" dirty="0"/>
              <a:t>The stress test for the digital </a:t>
            </a:r>
          </a:p>
          <a:p>
            <a:r>
              <a:rPr lang="en-GB" dirty="0"/>
              <a:t>transformation paradigm</a:t>
            </a:r>
          </a:p>
          <a:p>
            <a:endParaRPr lang="en-GB" dirty="0"/>
          </a:p>
        </p:txBody>
      </p:sp>
      <p:sp>
        <p:nvSpPr>
          <p:cNvPr id="10" name="TextBox 9">
            <a:extLst>
              <a:ext uri="{FF2B5EF4-FFF2-40B4-BE49-F238E27FC236}">
                <a16:creationId xmlns:a16="http://schemas.microsoft.com/office/drawing/2014/main" id="{9C86C384-15F6-479B-8EB6-2A33861D70C1}"/>
              </a:ext>
            </a:extLst>
          </p:cNvPr>
          <p:cNvSpPr txBox="1"/>
          <p:nvPr/>
        </p:nvSpPr>
        <p:spPr>
          <a:xfrm>
            <a:off x="8568601" y="3169336"/>
            <a:ext cx="3309624" cy="1200329"/>
          </a:xfrm>
          <a:prstGeom prst="rect">
            <a:avLst/>
          </a:prstGeom>
          <a:solidFill>
            <a:srgbClr val="FFFF00"/>
          </a:solidFill>
        </p:spPr>
        <p:txBody>
          <a:bodyPr wrap="none" rtlCol="0">
            <a:spAutoFit/>
          </a:bodyPr>
          <a:lstStyle/>
          <a:p>
            <a:r>
              <a:rPr lang="en-GB" b="1" dirty="0" err="1"/>
              <a:t>Covid</a:t>
            </a:r>
            <a:r>
              <a:rPr lang="en-GB" b="1" dirty="0"/>
              <a:t> 19 Phase 1 and beyond</a:t>
            </a:r>
          </a:p>
          <a:p>
            <a:r>
              <a:rPr lang="en-GB" dirty="0"/>
              <a:t>Does the digital transformation </a:t>
            </a:r>
          </a:p>
          <a:p>
            <a:r>
              <a:rPr lang="en-GB" dirty="0"/>
              <a:t>paradigm need to be re-thought?</a:t>
            </a:r>
          </a:p>
          <a:p>
            <a:endParaRPr lang="en-GB" dirty="0"/>
          </a:p>
        </p:txBody>
      </p:sp>
    </p:spTree>
    <p:extLst>
      <p:ext uri="{BB962C8B-B14F-4D97-AF65-F5344CB8AC3E}">
        <p14:creationId xmlns:p14="http://schemas.microsoft.com/office/powerpoint/2010/main" val="22199875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lide Number Placeholder 4">
            <a:extLst>
              <a:ext uri="{FF2B5EF4-FFF2-40B4-BE49-F238E27FC236}">
                <a16:creationId xmlns:a16="http://schemas.microsoft.com/office/drawing/2014/main" id="{63903596-8008-47AF-B5D0-E2B51E272E06}"/>
              </a:ext>
            </a:extLst>
          </p:cNvPr>
          <p:cNvSpPr>
            <a:spLocks noGrp="1"/>
          </p:cNvSpPr>
          <p:nvPr>
            <p:ph type="sldNum" sz="quarter" idx="12"/>
          </p:nvPr>
        </p:nvSpPr>
        <p:spPr>
          <a:xfrm>
            <a:off x="10131915" y="6405565"/>
            <a:ext cx="2478927" cy="357941"/>
          </a:xfrm>
        </p:spPr>
        <p:txBody>
          <a:bodyPr/>
          <a:lstStyle/>
          <a:p>
            <a:pPr defTabSz="609585">
              <a:defRPr/>
            </a:pPr>
            <a:fld id="{14A44F08-32FF-CD46-AC36-4CD0520A72DA}" type="slidenum">
              <a:rPr lang="en-US">
                <a:solidFill>
                  <a:prstClr val="black"/>
                </a:solidFill>
              </a:rPr>
              <a:pPr defTabSz="609585">
                <a:defRPr/>
              </a:pPr>
              <a:t>20</a:t>
            </a:fld>
            <a:endParaRPr lang="en-US" dirty="0">
              <a:solidFill>
                <a:prstClr val="black"/>
              </a:solidFill>
            </a:endParaRPr>
          </a:p>
        </p:txBody>
      </p:sp>
      <p:sp>
        <p:nvSpPr>
          <p:cNvPr id="12" name="Subtitle 2">
            <a:extLst>
              <a:ext uri="{FF2B5EF4-FFF2-40B4-BE49-F238E27FC236}">
                <a16:creationId xmlns:a16="http://schemas.microsoft.com/office/drawing/2014/main" id="{63C95D3E-0B16-42B8-8E21-2ACCD608D779}"/>
              </a:ext>
            </a:extLst>
          </p:cNvPr>
          <p:cNvSpPr txBox="1">
            <a:spLocks/>
          </p:cNvSpPr>
          <p:nvPr/>
        </p:nvSpPr>
        <p:spPr>
          <a:xfrm>
            <a:off x="2365132" y="2126022"/>
            <a:ext cx="6923646" cy="30273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dirty="0"/>
          </a:p>
          <a:p>
            <a:pPr marL="0" indent="0" algn="ctr">
              <a:buNone/>
            </a:pPr>
            <a:r>
              <a:rPr lang="en-GB" sz="4000" dirty="0"/>
              <a:t>Saverio Romeo</a:t>
            </a:r>
          </a:p>
          <a:p>
            <a:pPr marL="0" indent="0" algn="ctr">
              <a:buNone/>
            </a:pPr>
            <a:r>
              <a:rPr lang="en-GB" sz="4000" dirty="0">
                <a:hlinkClick r:id="rId2"/>
              </a:rPr>
              <a:t>s.romeo@bbk.ac.uk</a:t>
            </a:r>
            <a:br>
              <a:rPr lang="en-GB" sz="4000" dirty="0"/>
            </a:br>
            <a:r>
              <a:rPr lang="en-GB" sz="4000" dirty="0"/>
              <a:t>@</a:t>
            </a:r>
            <a:r>
              <a:rPr lang="en-GB" sz="4000" dirty="0" err="1"/>
              <a:t>saverio_romeo</a:t>
            </a:r>
            <a:endParaRPr lang="en-GB" sz="4000" dirty="0"/>
          </a:p>
          <a:p>
            <a:pPr algn="ctr"/>
            <a:endParaRPr lang="en-GB" dirty="0"/>
          </a:p>
        </p:txBody>
      </p:sp>
      <p:sp>
        <p:nvSpPr>
          <p:cNvPr id="14" name="TextBox 13">
            <a:extLst>
              <a:ext uri="{FF2B5EF4-FFF2-40B4-BE49-F238E27FC236}">
                <a16:creationId xmlns:a16="http://schemas.microsoft.com/office/drawing/2014/main" id="{ADA175A4-39A1-4994-B607-02AABB6F4A48}"/>
              </a:ext>
            </a:extLst>
          </p:cNvPr>
          <p:cNvSpPr txBox="1"/>
          <p:nvPr/>
        </p:nvSpPr>
        <p:spPr>
          <a:xfrm>
            <a:off x="4819946" y="793874"/>
            <a:ext cx="2552109" cy="769441"/>
          </a:xfrm>
          <a:prstGeom prst="rect">
            <a:avLst/>
          </a:prstGeom>
          <a:noFill/>
        </p:spPr>
        <p:txBody>
          <a:bodyPr wrap="none" rtlCol="0">
            <a:spAutoFit/>
          </a:bodyPr>
          <a:lstStyle/>
          <a:p>
            <a:r>
              <a:rPr lang="en-GB" sz="4400" dirty="0"/>
              <a:t>Thank you</a:t>
            </a:r>
          </a:p>
        </p:txBody>
      </p:sp>
    </p:spTree>
    <p:extLst>
      <p:ext uri="{BB962C8B-B14F-4D97-AF65-F5344CB8AC3E}">
        <p14:creationId xmlns:p14="http://schemas.microsoft.com/office/powerpoint/2010/main" val="3329581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C8F90-70C6-4248-BD07-92278273C9B7}"/>
              </a:ext>
            </a:extLst>
          </p:cNvPr>
          <p:cNvSpPr>
            <a:spLocks noGrp="1"/>
          </p:cNvSpPr>
          <p:nvPr>
            <p:ph type="title"/>
          </p:nvPr>
        </p:nvSpPr>
        <p:spPr/>
        <p:txBody>
          <a:bodyPr>
            <a:normAutofit/>
          </a:bodyPr>
          <a:lstStyle/>
          <a:p>
            <a:r>
              <a:rPr lang="en-GB" dirty="0"/>
              <a:t>What is digital transformation?</a:t>
            </a:r>
          </a:p>
        </p:txBody>
      </p:sp>
      <p:sp>
        <p:nvSpPr>
          <p:cNvPr id="3" name="Content Placeholder 2">
            <a:extLst>
              <a:ext uri="{FF2B5EF4-FFF2-40B4-BE49-F238E27FC236}">
                <a16:creationId xmlns:a16="http://schemas.microsoft.com/office/drawing/2014/main" id="{E67C0565-DF7D-4443-BA00-7AFBCEB125DA}"/>
              </a:ext>
            </a:extLst>
          </p:cNvPr>
          <p:cNvSpPr>
            <a:spLocks noGrp="1"/>
          </p:cNvSpPr>
          <p:nvPr>
            <p:ph idx="1"/>
          </p:nvPr>
        </p:nvSpPr>
        <p:spPr/>
        <p:txBody>
          <a:bodyPr>
            <a:normAutofit lnSpcReduction="10000"/>
          </a:bodyPr>
          <a:lstStyle/>
          <a:p>
            <a:r>
              <a:rPr lang="en-GB" dirty="0"/>
              <a:t>“Our framework foregrounds digital transformation as a process where </a:t>
            </a:r>
            <a:r>
              <a:rPr lang="en-GB" i="1" dirty="0"/>
              <a:t>digital technologies</a:t>
            </a:r>
            <a:r>
              <a:rPr lang="en-GB" dirty="0"/>
              <a:t> create </a:t>
            </a:r>
            <a:r>
              <a:rPr lang="en-GB" i="1" dirty="0"/>
              <a:t>disruptions</a:t>
            </a:r>
            <a:r>
              <a:rPr lang="en-GB" dirty="0"/>
              <a:t> triggering </a:t>
            </a:r>
            <a:r>
              <a:rPr lang="en-GB" i="1" dirty="0"/>
              <a:t>strategic responses</a:t>
            </a:r>
            <a:r>
              <a:rPr lang="en-GB" dirty="0"/>
              <a:t> from organizations that seek to alter their </a:t>
            </a:r>
            <a:r>
              <a:rPr lang="en-GB" i="1" dirty="0"/>
              <a:t>value creation paths</a:t>
            </a:r>
            <a:r>
              <a:rPr lang="en-GB" dirty="0"/>
              <a:t> while managing the </a:t>
            </a:r>
            <a:r>
              <a:rPr lang="en-GB" i="1" dirty="0"/>
              <a:t>structural changes</a:t>
            </a:r>
            <a:r>
              <a:rPr lang="en-GB" dirty="0"/>
              <a:t> and </a:t>
            </a:r>
            <a:r>
              <a:rPr lang="en-GB" i="1" dirty="0"/>
              <a:t>organizational barriers</a:t>
            </a:r>
            <a:r>
              <a:rPr lang="en-GB" dirty="0"/>
              <a:t> that affect the </a:t>
            </a:r>
            <a:r>
              <a:rPr lang="en-GB" i="1" dirty="0"/>
              <a:t>positive</a:t>
            </a:r>
            <a:r>
              <a:rPr lang="en-GB" dirty="0"/>
              <a:t> and </a:t>
            </a:r>
            <a:r>
              <a:rPr lang="en-GB" i="1" dirty="0"/>
              <a:t>negative</a:t>
            </a:r>
            <a:r>
              <a:rPr lang="en-GB" dirty="0"/>
              <a:t> outcomes of this process.” Vial, G. 2019. Understanding digital transformation: A review and a research agenda. </a:t>
            </a:r>
            <a:r>
              <a:rPr lang="en-GB" i="1" dirty="0"/>
              <a:t>The Journal of Strategic Information </a:t>
            </a:r>
            <a:r>
              <a:rPr lang="en-GB" dirty="0"/>
              <a:t>Systems, Volume 28, Issue 2.</a:t>
            </a:r>
          </a:p>
          <a:p>
            <a:r>
              <a:rPr lang="en-GB" dirty="0"/>
              <a:t>Eight key words or dimensions: digital technologies, disruptions, strategic responses, value creation paths, structural changes, organisational barriers, positive and negative outcomes.</a:t>
            </a:r>
          </a:p>
          <a:p>
            <a:pPr marL="457200" lvl="1" indent="0">
              <a:buNone/>
            </a:pPr>
            <a:endParaRPr lang="en-GB" dirty="0"/>
          </a:p>
        </p:txBody>
      </p:sp>
      <p:sp>
        <p:nvSpPr>
          <p:cNvPr id="4" name="Slide Number Placeholder 3">
            <a:extLst>
              <a:ext uri="{FF2B5EF4-FFF2-40B4-BE49-F238E27FC236}">
                <a16:creationId xmlns:a16="http://schemas.microsoft.com/office/drawing/2014/main" id="{CF3B1D69-4962-4E47-920C-44914BA2C4A3}"/>
              </a:ext>
            </a:extLst>
          </p:cNvPr>
          <p:cNvSpPr>
            <a:spLocks noGrp="1"/>
          </p:cNvSpPr>
          <p:nvPr>
            <p:ph type="sldNum" sz="quarter" idx="12"/>
          </p:nvPr>
        </p:nvSpPr>
        <p:spPr/>
        <p:txBody>
          <a:bodyPr/>
          <a:lstStyle/>
          <a:p>
            <a:fld id="{8669BDEF-EA52-4BD8-987D-A979C5319067}" type="slidenum">
              <a:rPr lang="en-GB" smtClean="0"/>
              <a:t>3</a:t>
            </a:fld>
            <a:endParaRPr lang="en-GB"/>
          </a:p>
        </p:txBody>
      </p:sp>
    </p:spTree>
    <p:extLst>
      <p:ext uri="{BB962C8B-B14F-4D97-AF65-F5344CB8AC3E}">
        <p14:creationId xmlns:p14="http://schemas.microsoft.com/office/powerpoint/2010/main" val="1661773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p:txBody>
          <a:bodyPr/>
          <a:lstStyle/>
          <a:p>
            <a:r>
              <a:rPr lang="en-GB" dirty="0"/>
              <a:t>The IoT was set to grow in revenues</a:t>
            </a:r>
          </a:p>
        </p:txBody>
      </p:sp>
      <p:sp>
        <p:nvSpPr>
          <p:cNvPr id="3" name="Footer Placeholder 3">
            <a:extLst>
              <a:ext uri="{FF2B5EF4-FFF2-40B4-BE49-F238E27FC236}">
                <a16:creationId xmlns:a16="http://schemas.microsoft.com/office/drawing/2014/main" id="{753A6ACC-2B0D-469B-9003-7B2D2CC3FABF}"/>
              </a:ext>
            </a:extLst>
          </p:cNvPr>
          <p:cNvSpPr>
            <a:spLocks noGrp="1"/>
          </p:cNvSpPr>
          <p:nvPr>
            <p:ph type="ftr" sz="quarter" idx="11"/>
          </p:nvPr>
        </p:nvSpPr>
        <p:spPr>
          <a:xfrm>
            <a:off x="3918850" y="6147901"/>
            <a:ext cx="4114800" cy="365125"/>
          </a:xfrm>
        </p:spPr>
        <p:txBody>
          <a:bodyPr/>
          <a:lstStyle/>
          <a:p>
            <a:pPr defTabSz="742950"/>
            <a:r>
              <a:rPr lang="en-US" dirty="0">
                <a:solidFill>
                  <a:srgbClr val="929398"/>
                </a:solidFill>
                <a:latin typeface="Calibri"/>
              </a:rPr>
              <a:t>Copyright © 2019 by www.iot-analytics.com All rights reserved</a:t>
            </a:r>
          </a:p>
        </p:txBody>
      </p:sp>
      <p:sp>
        <p:nvSpPr>
          <p:cNvPr id="5" name="Footer Placeholder 3">
            <a:extLst>
              <a:ext uri="{FF2B5EF4-FFF2-40B4-BE49-F238E27FC236}">
                <a16:creationId xmlns:a16="http://schemas.microsoft.com/office/drawing/2014/main" id="{EA27DF97-0CE3-4083-B78E-C101963C1B60}"/>
              </a:ext>
            </a:extLst>
          </p:cNvPr>
          <p:cNvSpPr txBox="1">
            <a:spLocks/>
          </p:cNvSpPr>
          <p:nvPr/>
        </p:nvSpPr>
        <p:spPr>
          <a:xfrm rot="16200000">
            <a:off x="10366749" y="3969410"/>
            <a:ext cx="3834513" cy="14037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D8DC0BEB-562B-49E2-B05B-62AEDCF43988}"/>
              </a:ext>
            </a:extLst>
          </p:cNvPr>
          <p:cNvGrpSpPr/>
          <p:nvPr>
            <p:custDataLst>
              <p:tags r:id="rId1"/>
            </p:custDataLst>
          </p:nvPr>
        </p:nvGrpSpPr>
        <p:grpSpPr>
          <a:xfrm>
            <a:off x="1566688" y="1548020"/>
            <a:ext cx="9058625" cy="4555310"/>
            <a:chOff x="437450" y="1756470"/>
            <a:chExt cx="6243375" cy="4555310"/>
          </a:xfrm>
        </p:grpSpPr>
        <p:sp>
          <p:nvSpPr>
            <p:cNvPr id="7" name="Rectangle 6">
              <a:extLst>
                <a:ext uri="{FF2B5EF4-FFF2-40B4-BE49-F238E27FC236}">
                  <a16:creationId xmlns:a16="http://schemas.microsoft.com/office/drawing/2014/main" id="{FC4D1B83-A801-4164-8CE1-4FEE54935B6A}"/>
                </a:ext>
              </a:extLst>
            </p:cNvPr>
            <p:cNvSpPr/>
            <p:nvPr>
              <p:custDataLst>
                <p:tags r:id="rId2"/>
              </p:custDataLst>
            </p:nvPr>
          </p:nvSpPr>
          <p:spPr bwMode="gray">
            <a:xfrm>
              <a:off x="3953881" y="4667524"/>
              <a:ext cx="447040" cy="1396090"/>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8" name="Rectangle 7">
              <a:extLst>
                <a:ext uri="{FF2B5EF4-FFF2-40B4-BE49-F238E27FC236}">
                  <a16:creationId xmlns:a16="http://schemas.microsoft.com/office/drawing/2014/main" id="{BC3EE590-30CB-45A5-9C01-1DD66A2DE5E6}"/>
                </a:ext>
              </a:extLst>
            </p:cNvPr>
            <p:cNvSpPr/>
            <p:nvPr>
              <p:custDataLst>
                <p:tags r:id="rId3"/>
              </p:custDataLst>
            </p:nvPr>
          </p:nvSpPr>
          <p:spPr bwMode="gray">
            <a:xfrm>
              <a:off x="3238617" y="5051955"/>
              <a:ext cx="447040" cy="1011660"/>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9" name="Rectangle 8">
              <a:extLst>
                <a:ext uri="{FF2B5EF4-FFF2-40B4-BE49-F238E27FC236}">
                  <a16:creationId xmlns:a16="http://schemas.microsoft.com/office/drawing/2014/main" id="{C02E2F8C-37FB-471D-8755-4B7A96FE26D4}"/>
                </a:ext>
              </a:extLst>
            </p:cNvPr>
            <p:cNvSpPr/>
            <p:nvPr>
              <p:custDataLst>
                <p:tags r:id="rId4"/>
              </p:custDataLst>
            </p:nvPr>
          </p:nvSpPr>
          <p:spPr bwMode="gray">
            <a:xfrm>
              <a:off x="4669144" y="4164932"/>
              <a:ext cx="447040" cy="1898683"/>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10" name="Rectangle 9">
              <a:extLst>
                <a:ext uri="{FF2B5EF4-FFF2-40B4-BE49-F238E27FC236}">
                  <a16:creationId xmlns:a16="http://schemas.microsoft.com/office/drawing/2014/main" id="{45A51240-C7F4-4AEF-B869-A1AE97727A33}"/>
                </a:ext>
              </a:extLst>
            </p:cNvPr>
            <p:cNvSpPr/>
            <p:nvPr>
              <p:custDataLst>
                <p:tags r:id="rId5"/>
              </p:custDataLst>
            </p:nvPr>
          </p:nvSpPr>
          <p:spPr bwMode="gray">
            <a:xfrm>
              <a:off x="6099672" y="2551811"/>
              <a:ext cx="447040" cy="3511804"/>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11" name="Rectangle 10">
              <a:extLst>
                <a:ext uri="{FF2B5EF4-FFF2-40B4-BE49-F238E27FC236}">
                  <a16:creationId xmlns:a16="http://schemas.microsoft.com/office/drawing/2014/main" id="{55672A80-8DBE-4357-A4E5-A9B3E0EC2F47}"/>
                </a:ext>
              </a:extLst>
            </p:cNvPr>
            <p:cNvSpPr/>
            <p:nvPr>
              <p:custDataLst>
                <p:tags r:id="rId6"/>
              </p:custDataLst>
            </p:nvPr>
          </p:nvSpPr>
          <p:spPr bwMode="gray">
            <a:xfrm>
              <a:off x="5384409" y="3481406"/>
              <a:ext cx="447040" cy="2582209"/>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12" name="Rectangle 11">
              <a:extLst>
                <a:ext uri="{FF2B5EF4-FFF2-40B4-BE49-F238E27FC236}">
                  <a16:creationId xmlns:a16="http://schemas.microsoft.com/office/drawing/2014/main" id="{A8669D16-BC51-42D1-BCD3-99DAC3E759A3}"/>
                </a:ext>
              </a:extLst>
            </p:cNvPr>
            <p:cNvSpPr/>
            <p:nvPr>
              <p:custDataLst>
                <p:tags r:id="rId7"/>
              </p:custDataLst>
            </p:nvPr>
          </p:nvSpPr>
          <p:spPr bwMode="gray">
            <a:xfrm>
              <a:off x="2523353" y="5330528"/>
              <a:ext cx="447040" cy="733087"/>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13" name="Rectangle 12">
              <a:extLst>
                <a:ext uri="{FF2B5EF4-FFF2-40B4-BE49-F238E27FC236}">
                  <a16:creationId xmlns:a16="http://schemas.microsoft.com/office/drawing/2014/main" id="{CCC9B709-8A4E-4EC8-BE92-D4A5EA96BB0C}"/>
                </a:ext>
              </a:extLst>
            </p:cNvPr>
            <p:cNvSpPr/>
            <p:nvPr>
              <p:custDataLst>
                <p:tags r:id="rId8"/>
              </p:custDataLst>
            </p:nvPr>
          </p:nvSpPr>
          <p:spPr bwMode="gray">
            <a:xfrm>
              <a:off x="1808089" y="5499703"/>
              <a:ext cx="447040" cy="563913"/>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sp>
          <p:nvSpPr>
            <p:cNvPr id="14" name="Rectangle 13">
              <a:extLst>
                <a:ext uri="{FF2B5EF4-FFF2-40B4-BE49-F238E27FC236}">
                  <a16:creationId xmlns:a16="http://schemas.microsoft.com/office/drawing/2014/main" id="{02E3F109-57CF-4D09-AC96-44FFC8190056}"/>
                </a:ext>
              </a:extLst>
            </p:cNvPr>
            <p:cNvSpPr/>
            <p:nvPr>
              <p:custDataLst>
                <p:tags r:id="rId9"/>
              </p:custDataLst>
            </p:nvPr>
          </p:nvSpPr>
          <p:spPr bwMode="gray">
            <a:xfrm>
              <a:off x="1092825" y="5629835"/>
              <a:ext cx="447040" cy="433779"/>
            </a:xfrm>
            <a:prstGeom prst="rect">
              <a:avLst/>
            </a:prstGeom>
            <a:solidFill>
              <a:schemeClr val="accent3"/>
            </a:solidFill>
            <a:ln w="9525">
              <a:solidFill>
                <a:schemeClr val="bg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p>
          </p:txBody>
        </p:sp>
        <p:cxnSp>
          <p:nvCxnSpPr>
            <p:cNvPr id="15" name="Straight Connector 14">
              <a:extLst>
                <a:ext uri="{FF2B5EF4-FFF2-40B4-BE49-F238E27FC236}">
                  <a16:creationId xmlns:a16="http://schemas.microsoft.com/office/drawing/2014/main" id="{32F3316A-D962-41D0-80CD-D27577592C90}"/>
                </a:ext>
              </a:extLst>
            </p:cNvPr>
            <p:cNvCxnSpPr/>
            <p:nvPr>
              <p:custDataLst>
                <p:tags r:id="rId10"/>
              </p:custDataLst>
            </p:nvPr>
          </p:nvCxnSpPr>
          <p:spPr bwMode="gray">
            <a:xfrm>
              <a:off x="958713" y="6063614"/>
              <a:ext cx="5722112"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CB99E8-BB5A-4148-9ED8-2A15D17C3B8E}"/>
                </a:ext>
              </a:extLst>
            </p:cNvPr>
            <p:cNvCxnSpPr/>
            <p:nvPr>
              <p:custDataLst>
                <p:tags r:id="rId11"/>
              </p:custDataLst>
            </p:nvPr>
          </p:nvCxnSpPr>
          <p:spPr bwMode="gray">
            <a:xfrm flipV="1">
              <a:off x="958713" y="2043645"/>
              <a:ext cx="0" cy="4019969"/>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31223F-9EDF-4F51-A1DF-0E8AD70DF82A}"/>
                </a:ext>
              </a:extLst>
            </p:cNvPr>
            <p:cNvCxnSpPr/>
            <p:nvPr>
              <p:custDataLst>
                <p:tags r:id="rId12"/>
              </p:custDataLst>
            </p:nvPr>
          </p:nvCxnSpPr>
          <p:spPr bwMode="gray">
            <a:xfrm flipH="1">
              <a:off x="907913" y="4915052"/>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053FF-8921-44BE-9037-ABD9741EBCE1}"/>
                </a:ext>
              </a:extLst>
            </p:cNvPr>
            <p:cNvCxnSpPr/>
            <p:nvPr>
              <p:custDataLst>
                <p:tags r:id="rId13"/>
              </p:custDataLst>
            </p:nvPr>
          </p:nvCxnSpPr>
          <p:spPr bwMode="gray">
            <a:xfrm flipH="1">
              <a:off x="907913" y="3766489"/>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40A3C0-FA66-4183-B17B-22484FAE188C}"/>
                </a:ext>
              </a:extLst>
            </p:cNvPr>
            <p:cNvCxnSpPr/>
            <p:nvPr>
              <p:custDataLst>
                <p:tags r:id="rId14"/>
              </p:custDataLst>
            </p:nvPr>
          </p:nvCxnSpPr>
          <p:spPr bwMode="gray">
            <a:xfrm flipH="1">
              <a:off x="907913" y="4340770"/>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D6DE56D-2472-455D-8B40-86881C85B943}"/>
                </a:ext>
              </a:extLst>
            </p:cNvPr>
            <p:cNvCxnSpPr/>
            <p:nvPr>
              <p:custDataLst>
                <p:tags r:id="rId15"/>
              </p:custDataLst>
            </p:nvPr>
          </p:nvCxnSpPr>
          <p:spPr bwMode="gray">
            <a:xfrm flipH="1">
              <a:off x="907913" y="6063614"/>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539194-344A-4AD9-A325-06337F98F53D}"/>
                </a:ext>
              </a:extLst>
            </p:cNvPr>
            <p:cNvCxnSpPr/>
            <p:nvPr>
              <p:custDataLst>
                <p:tags r:id="rId16"/>
              </p:custDataLst>
            </p:nvPr>
          </p:nvCxnSpPr>
          <p:spPr bwMode="gray">
            <a:xfrm flipH="1">
              <a:off x="907913" y="2043645"/>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7EB2FDD-ACCC-488F-972A-449774A26FFF}"/>
                </a:ext>
              </a:extLst>
            </p:cNvPr>
            <p:cNvCxnSpPr/>
            <p:nvPr>
              <p:custDataLst>
                <p:tags r:id="rId17"/>
              </p:custDataLst>
            </p:nvPr>
          </p:nvCxnSpPr>
          <p:spPr bwMode="gray">
            <a:xfrm flipH="1">
              <a:off x="907913" y="2617926"/>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E9928C-9970-42B6-9974-73395BB6830A}"/>
                </a:ext>
              </a:extLst>
            </p:cNvPr>
            <p:cNvCxnSpPr/>
            <p:nvPr>
              <p:custDataLst>
                <p:tags r:id="rId18"/>
              </p:custDataLst>
            </p:nvPr>
          </p:nvCxnSpPr>
          <p:spPr bwMode="gray">
            <a:xfrm flipH="1">
              <a:off x="907913" y="5489333"/>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778D310-6594-4C74-8105-3F0F2B12BFD3}"/>
                </a:ext>
              </a:extLst>
            </p:cNvPr>
            <p:cNvCxnSpPr/>
            <p:nvPr>
              <p:custDataLst>
                <p:tags r:id="rId19"/>
              </p:custDataLst>
            </p:nvPr>
          </p:nvCxnSpPr>
          <p:spPr bwMode="gray">
            <a:xfrm flipH="1">
              <a:off x="907913" y="3192207"/>
              <a:ext cx="50800" cy="0"/>
            </a:xfrm>
            <a:prstGeom prst="line">
              <a:avLst/>
            </a:prstGeom>
            <a:ln w="9525" cmpd="sng">
              <a:solidFill>
                <a:schemeClr val="tx1"/>
              </a:solidFill>
              <a:prstDash val="solid"/>
              <a:headEnd type="none"/>
              <a:tailEnd type="none"/>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6AEBFEB-821A-4EFD-8B6B-7E81DDF5BD93}"/>
                </a:ext>
              </a:extLst>
            </p:cNvPr>
            <p:cNvCxnSpPr/>
            <p:nvPr>
              <p:custDataLst>
                <p:tags r:id="rId20"/>
              </p:custDataLst>
            </p:nvPr>
          </p:nvCxnSpPr>
          <p:spPr bwMode="gray">
            <a:xfrm flipV="1">
              <a:off x="1316345" y="4935331"/>
              <a:ext cx="1430528" cy="299308"/>
            </a:xfrm>
            <a:prstGeom prst="line">
              <a:avLst/>
            </a:prstGeom>
            <a:ln w="25400" cmpd="sng">
              <a:solidFill>
                <a:schemeClr val="tx1"/>
              </a:solidFill>
              <a:prstDash val="solid"/>
              <a:headEnd type="none"/>
              <a:tailEnd type="triangle" w="med" len="me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3B03433-61C6-43F3-AA2D-330DD644821F}"/>
                </a:ext>
              </a:extLst>
            </p:cNvPr>
            <p:cNvCxnSpPr/>
            <p:nvPr>
              <p:custDataLst>
                <p:tags r:id="rId21"/>
              </p:custDataLst>
            </p:nvPr>
          </p:nvCxnSpPr>
          <p:spPr bwMode="gray">
            <a:xfrm flipV="1">
              <a:off x="2746873" y="2156613"/>
              <a:ext cx="3576319" cy="2778718"/>
            </a:xfrm>
            <a:prstGeom prst="line">
              <a:avLst/>
            </a:prstGeom>
            <a:ln w="25400" cmpd="sng">
              <a:solidFill>
                <a:schemeClr val="tx1"/>
              </a:solidFill>
              <a:prstDash val="solid"/>
              <a:headEnd type="none"/>
              <a:tailEnd type="triangle" w="med" len="me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2725E58-5840-45DA-998B-1CE21D542108}"/>
                </a:ext>
              </a:extLst>
            </p:cNvPr>
            <p:cNvSpPr txBox="1"/>
            <p:nvPr>
              <p:custDataLst>
                <p:tags r:id="rId22"/>
              </p:custDataLst>
            </p:nvPr>
          </p:nvSpPr>
          <p:spPr bwMode="gray">
            <a:xfrm>
              <a:off x="637337" y="2525593"/>
              <a:ext cx="273130"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1,200</a:t>
              </a:r>
            </a:p>
          </p:txBody>
        </p:sp>
        <p:sp>
          <p:nvSpPr>
            <p:cNvPr id="28" name="TextBox 27">
              <a:extLst>
                <a:ext uri="{FF2B5EF4-FFF2-40B4-BE49-F238E27FC236}">
                  <a16:creationId xmlns:a16="http://schemas.microsoft.com/office/drawing/2014/main" id="{117CBF07-D7C3-4193-B91A-8944F8FAF1BC}"/>
                </a:ext>
              </a:extLst>
            </p:cNvPr>
            <p:cNvSpPr txBox="1"/>
            <p:nvPr>
              <p:custDataLst>
                <p:tags r:id="rId23"/>
              </p:custDataLst>
            </p:nvPr>
          </p:nvSpPr>
          <p:spPr bwMode="gray">
            <a:xfrm>
              <a:off x="826260" y="5971281"/>
              <a:ext cx="84205"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0</a:t>
              </a:r>
            </a:p>
          </p:txBody>
        </p:sp>
        <p:sp>
          <p:nvSpPr>
            <p:cNvPr id="29" name="TextBox 28">
              <a:extLst>
                <a:ext uri="{FF2B5EF4-FFF2-40B4-BE49-F238E27FC236}">
                  <a16:creationId xmlns:a16="http://schemas.microsoft.com/office/drawing/2014/main" id="{9082C2DF-F9CC-4FD3-8D93-D8673DA3CB0C}"/>
                </a:ext>
              </a:extLst>
            </p:cNvPr>
            <p:cNvSpPr txBox="1"/>
            <p:nvPr>
              <p:custDataLst>
                <p:tags r:id="rId24"/>
              </p:custDataLst>
            </p:nvPr>
          </p:nvSpPr>
          <p:spPr bwMode="gray">
            <a:xfrm>
              <a:off x="637337" y="3099875"/>
              <a:ext cx="273130"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1,000</a:t>
              </a:r>
            </a:p>
          </p:txBody>
        </p:sp>
        <p:sp>
          <p:nvSpPr>
            <p:cNvPr id="30" name="TextBox 29">
              <a:extLst>
                <a:ext uri="{FF2B5EF4-FFF2-40B4-BE49-F238E27FC236}">
                  <a16:creationId xmlns:a16="http://schemas.microsoft.com/office/drawing/2014/main" id="{80792610-5FAE-4096-B7FF-C015DE481D85}"/>
                </a:ext>
              </a:extLst>
            </p:cNvPr>
            <p:cNvSpPr txBox="1"/>
            <p:nvPr>
              <p:custDataLst>
                <p:tags r:id="rId25"/>
              </p:custDataLst>
            </p:nvPr>
          </p:nvSpPr>
          <p:spPr bwMode="gray">
            <a:xfrm>
              <a:off x="717988" y="3674156"/>
              <a:ext cx="192477"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800</a:t>
              </a:r>
            </a:p>
          </p:txBody>
        </p:sp>
        <p:sp>
          <p:nvSpPr>
            <p:cNvPr id="31" name="TextBox 30">
              <a:extLst>
                <a:ext uri="{FF2B5EF4-FFF2-40B4-BE49-F238E27FC236}">
                  <a16:creationId xmlns:a16="http://schemas.microsoft.com/office/drawing/2014/main" id="{91BDACFA-3FBD-4295-AE55-C12426CF22EF}"/>
                </a:ext>
              </a:extLst>
            </p:cNvPr>
            <p:cNvSpPr txBox="1"/>
            <p:nvPr>
              <p:custDataLst>
                <p:tags r:id="rId26"/>
              </p:custDataLst>
            </p:nvPr>
          </p:nvSpPr>
          <p:spPr bwMode="gray">
            <a:xfrm>
              <a:off x="637337" y="1951312"/>
              <a:ext cx="273130"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1,400</a:t>
              </a:r>
            </a:p>
          </p:txBody>
        </p:sp>
        <p:sp>
          <p:nvSpPr>
            <p:cNvPr id="32" name="TextBox 31">
              <a:extLst>
                <a:ext uri="{FF2B5EF4-FFF2-40B4-BE49-F238E27FC236}">
                  <a16:creationId xmlns:a16="http://schemas.microsoft.com/office/drawing/2014/main" id="{B7127903-930E-4A42-B51A-7E24BDCF3F28}"/>
                </a:ext>
              </a:extLst>
            </p:cNvPr>
            <p:cNvSpPr txBox="1"/>
            <p:nvPr>
              <p:custDataLst>
                <p:tags r:id="rId27"/>
              </p:custDataLst>
            </p:nvPr>
          </p:nvSpPr>
          <p:spPr bwMode="gray">
            <a:xfrm>
              <a:off x="717988" y="5397000"/>
              <a:ext cx="192477"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200</a:t>
              </a:r>
            </a:p>
          </p:txBody>
        </p:sp>
        <p:sp>
          <p:nvSpPr>
            <p:cNvPr id="33" name="TextBox 32">
              <a:extLst>
                <a:ext uri="{FF2B5EF4-FFF2-40B4-BE49-F238E27FC236}">
                  <a16:creationId xmlns:a16="http://schemas.microsoft.com/office/drawing/2014/main" id="{2AF27B9E-5849-4196-B06A-D05C4814AD72}"/>
                </a:ext>
              </a:extLst>
            </p:cNvPr>
            <p:cNvSpPr txBox="1"/>
            <p:nvPr>
              <p:custDataLst>
                <p:tags r:id="rId28"/>
              </p:custDataLst>
            </p:nvPr>
          </p:nvSpPr>
          <p:spPr bwMode="gray">
            <a:xfrm>
              <a:off x="717988" y="4822719"/>
              <a:ext cx="192477"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400</a:t>
              </a:r>
            </a:p>
          </p:txBody>
        </p:sp>
        <p:sp>
          <p:nvSpPr>
            <p:cNvPr id="34" name="TextBox 33">
              <a:extLst>
                <a:ext uri="{FF2B5EF4-FFF2-40B4-BE49-F238E27FC236}">
                  <a16:creationId xmlns:a16="http://schemas.microsoft.com/office/drawing/2014/main" id="{334A0096-0757-4197-BD9F-A89EF6FF4799}"/>
                </a:ext>
              </a:extLst>
            </p:cNvPr>
            <p:cNvSpPr txBox="1"/>
            <p:nvPr>
              <p:custDataLst>
                <p:tags r:id="rId29"/>
              </p:custDataLst>
            </p:nvPr>
          </p:nvSpPr>
          <p:spPr bwMode="gray">
            <a:xfrm>
              <a:off x="717988" y="4248437"/>
              <a:ext cx="192477"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ctr">
              <a:spAutoFit/>
            </a:bodyPr>
            <a:lstStyle/>
            <a:p>
              <a:pPr algn="r">
                <a:buClr>
                  <a:schemeClr val="accent3"/>
                </a:buClr>
              </a:pPr>
              <a:r>
                <a:rPr lang="en-US" sz="1200">
                  <a:latin typeface="Calibri" panose="020F0502020204030204" pitchFamily="34" charset="0"/>
                </a:rPr>
                <a:t>600</a:t>
              </a:r>
            </a:p>
          </p:txBody>
        </p:sp>
        <p:sp>
          <p:nvSpPr>
            <p:cNvPr id="35" name="TextBox 34">
              <a:extLst>
                <a:ext uri="{FF2B5EF4-FFF2-40B4-BE49-F238E27FC236}">
                  <a16:creationId xmlns:a16="http://schemas.microsoft.com/office/drawing/2014/main" id="{80A485D6-A361-43D1-9CDD-7EC08F847A96}"/>
                </a:ext>
              </a:extLst>
            </p:cNvPr>
            <p:cNvSpPr txBox="1"/>
            <p:nvPr>
              <p:custDataLst>
                <p:tags r:id="rId30"/>
              </p:custDataLst>
            </p:nvPr>
          </p:nvSpPr>
          <p:spPr bwMode="gray">
            <a:xfrm>
              <a:off x="437450" y="1756470"/>
              <a:ext cx="1042526"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dirty="0">
                  <a:latin typeface="Calibri" panose="020F0502020204030204" pitchFamily="34" charset="0"/>
                </a:rPr>
                <a:t>Global IoT Market in $B</a:t>
              </a:r>
            </a:p>
          </p:txBody>
        </p:sp>
        <p:sp>
          <p:nvSpPr>
            <p:cNvPr id="36" name="TextBox 35">
              <a:extLst>
                <a:ext uri="{FF2B5EF4-FFF2-40B4-BE49-F238E27FC236}">
                  <a16:creationId xmlns:a16="http://schemas.microsoft.com/office/drawing/2014/main" id="{30665B5C-16C0-498D-81AC-53119CAE8BE5}"/>
                </a:ext>
              </a:extLst>
            </p:cNvPr>
            <p:cNvSpPr txBox="1"/>
            <p:nvPr>
              <p:custDataLst>
                <p:tags r:id="rId31"/>
              </p:custDataLst>
            </p:nvPr>
          </p:nvSpPr>
          <p:spPr bwMode="gray">
            <a:xfrm>
              <a:off x="2623567"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0</a:t>
              </a:r>
            </a:p>
          </p:txBody>
        </p:sp>
        <p:sp>
          <p:nvSpPr>
            <p:cNvPr id="37" name="TextBox 36">
              <a:extLst>
                <a:ext uri="{FF2B5EF4-FFF2-40B4-BE49-F238E27FC236}">
                  <a16:creationId xmlns:a16="http://schemas.microsoft.com/office/drawing/2014/main" id="{5E985D45-7811-42FE-86A0-9D9827933619}"/>
                </a:ext>
              </a:extLst>
            </p:cNvPr>
            <p:cNvSpPr txBox="1"/>
            <p:nvPr>
              <p:custDataLst>
                <p:tags r:id="rId32"/>
              </p:custDataLst>
            </p:nvPr>
          </p:nvSpPr>
          <p:spPr bwMode="gray">
            <a:xfrm>
              <a:off x="3338829"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1</a:t>
              </a:r>
            </a:p>
          </p:txBody>
        </p:sp>
        <p:sp>
          <p:nvSpPr>
            <p:cNvPr id="38" name="TextBox 37">
              <a:extLst>
                <a:ext uri="{FF2B5EF4-FFF2-40B4-BE49-F238E27FC236}">
                  <a16:creationId xmlns:a16="http://schemas.microsoft.com/office/drawing/2014/main" id="{E046897B-F6DB-4B20-9C84-51A98D5C364D}"/>
                </a:ext>
              </a:extLst>
            </p:cNvPr>
            <p:cNvSpPr txBox="1"/>
            <p:nvPr>
              <p:custDataLst>
                <p:tags r:id="rId33"/>
              </p:custDataLst>
            </p:nvPr>
          </p:nvSpPr>
          <p:spPr bwMode="gray">
            <a:xfrm>
              <a:off x="4054093"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2</a:t>
              </a:r>
            </a:p>
          </p:txBody>
        </p:sp>
        <p:sp>
          <p:nvSpPr>
            <p:cNvPr id="39" name="TextBox 38">
              <a:extLst>
                <a:ext uri="{FF2B5EF4-FFF2-40B4-BE49-F238E27FC236}">
                  <a16:creationId xmlns:a16="http://schemas.microsoft.com/office/drawing/2014/main" id="{90C50C2F-B2EA-4FB3-98E1-D09779062E55}"/>
                </a:ext>
              </a:extLst>
            </p:cNvPr>
            <p:cNvSpPr txBox="1"/>
            <p:nvPr>
              <p:custDataLst>
                <p:tags r:id="rId34"/>
              </p:custDataLst>
            </p:nvPr>
          </p:nvSpPr>
          <p:spPr bwMode="gray">
            <a:xfrm>
              <a:off x="4769357"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3</a:t>
              </a:r>
            </a:p>
          </p:txBody>
        </p:sp>
        <p:sp>
          <p:nvSpPr>
            <p:cNvPr id="40" name="TextBox 39">
              <a:extLst>
                <a:ext uri="{FF2B5EF4-FFF2-40B4-BE49-F238E27FC236}">
                  <a16:creationId xmlns:a16="http://schemas.microsoft.com/office/drawing/2014/main" id="{05414B26-07C6-48F9-B731-1B96CBC15EDC}"/>
                </a:ext>
              </a:extLst>
            </p:cNvPr>
            <p:cNvSpPr txBox="1"/>
            <p:nvPr>
              <p:custDataLst>
                <p:tags r:id="rId35"/>
              </p:custDataLst>
            </p:nvPr>
          </p:nvSpPr>
          <p:spPr bwMode="gray">
            <a:xfrm>
              <a:off x="1908302"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19</a:t>
              </a:r>
            </a:p>
          </p:txBody>
        </p:sp>
        <p:sp>
          <p:nvSpPr>
            <p:cNvPr id="41" name="TextBox 40">
              <a:extLst>
                <a:ext uri="{FF2B5EF4-FFF2-40B4-BE49-F238E27FC236}">
                  <a16:creationId xmlns:a16="http://schemas.microsoft.com/office/drawing/2014/main" id="{CF4F71F8-2A5D-4E3C-B526-E72DD982D8F0}"/>
                </a:ext>
              </a:extLst>
            </p:cNvPr>
            <p:cNvSpPr txBox="1"/>
            <p:nvPr>
              <p:custDataLst>
                <p:tags r:id="rId36"/>
              </p:custDataLst>
            </p:nvPr>
          </p:nvSpPr>
          <p:spPr bwMode="gray">
            <a:xfrm>
              <a:off x="1193039"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18</a:t>
              </a:r>
            </a:p>
          </p:txBody>
        </p:sp>
        <p:sp>
          <p:nvSpPr>
            <p:cNvPr id="42" name="TextBox 41">
              <a:extLst>
                <a:ext uri="{FF2B5EF4-FFF2-40B4-BE49-F238E27FC236}">
                  <a16:creationId xmlns:a16="http://schemas.microsoft.com/office/drawing/2014/main" id="{1C7D6FD6-6A54-42F6-AE0C-0C08FB2BFFD6}"/>
                </a:ext>
              </a:extLst>
            </p:cNvPr>
            <p:cNvSpPr txBox="1"/>
            <p:nvPr>
              <p:custDataLst>
                <p:tags r:id="rId37"/>
              </p:custDataLst>
            </p:nvPr>
          </p:nvSpPr>
          <p:spPr bwMode="gray">
            <a:xfrm>
              <a:off x="5484622"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4</a:t>
              </a:r>
            </a:p>
          </p:txBody>
        </p:sp>
        <p:sp>
          <p:nvSpPr>
            <p:cNvPr id="43" name="TextBox 42">
              <a:extLst>
                <a:ext uri="{FF2B5EF4-FFF2-40B4-BE49-F238E27FC236}">
                  <a16:creationId xmlns:a16="http://schemas.microsoft.com/office/drawing/2014/main" id="{30D7C8BC-9B45-4F87-A8A1-7641B47687FD}"/>
                </a:ext>
              </a:extLst>
            </p:cNvPr>
            <p:cNvSpPr txBox="1"/>
            <p:nvPr>
              <p:custDataLst>
                <p:tags r:id="rId38"/>
              </p:custDataLst>
            </p:nvPr>
          </p:nvSpPr>
          <p:spPr bwMode="gray">
            <a:xfrm>
              <a:off x="6199885" y="6127114"/>
              <a:ext cx="24661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t">
              <a:spAutoFit/>
            </a:bodyPr>
            <a:lstStyle/>
            <a:p>
              <a:pPr algn="ctr">
                <a:buClr>
                  <a:schemeClr val="accent3"/>
                </a:buClr>
              </a:pPr>
              <a:r>
                <a:rPr lang="en-US" sz="1200">
                  <a:latin typeface="Calibri" panose="020F0502020204030204" pitchFamily="34" charset="0"/>
                </a:rPr>
                <a:t>2025</a:t>
              </a:r>
            </a:p>
          </p:txBody>
        </p:sp>
        <p:sp>
          <p:nvSpPr>
            <p:cNvPr id="44" name="TextBox 43">
              <a:extLst>
                <a:ext uri="{FF2B5EF4-FFF2-40B4-BE49-F238E27FC236}">
                  <a16:creationId xmlns:a16="http://schemas.microsoft.com/office/drawing/2014/main" id="{54DCF656-069A-4C31-B4FB-CC19AE2815B1}"/>
                </a:ext>
              </a:extLst>
            </p:cNvPr>
            <p:cNvSpPr txBox="1"/>
            <p:nvPr>
              <p:custDataLst>
                <p:tags r:id="rId39"/>
              </p:custDataLst>
            </p:nvPr>
          </p:nvSpPr>
          <p:spPr bwMode="gray">
            <a:xfrm>
              <a:off x="5511690" y="3258640"/>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899</a:t>
              </a:r>
            </a:p>
          </p:txBody>
        </p:sp>
        <p:sp>
          <p:nvSpPr>
            <p:cNvPr id="45" name="TextBox 44">
              <a:extLst>
                <a:ext uri="{FF2B5EF4-FFF2-40B4-BE49-F238E27FC236}">
                  <a16:creationId xmlns:a16="http://schemas.microsoft.com/office/drawing/2014/main" id="{AC428DA2-B5C0-4732-867B-5B973D45650D}"/>
                </a:ext>
              </a:extLst>
            </p:cNvPr>
            <p:cNvSpPr txBox="1"/>
            <p:nvPr>
              <p:custDataLst>
                <p:tags r:id="rId40"/>
              </p:custDataLst>
            </p:nvPr>
          </p:nvSpPr>
          <p:spPr bwMode="gray">
            <a:xfrm>
              <a:off x="4081162" y="4444758"/>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486</a:t>
              </a:r>
            </a:p>
          </p:txBody>
        </p:sp>
        <p:sp>
          <p:nvSpPr>
            <p:cNvPr id="46" name="Oval 45">
              <a:extLst>
                <a:ext uri="{FF2B5EF4-FFF2-40B4-BE49-F238E27FC236}">
                  <a16:creationId xmlns:a16="http://schemas.microsoft.com/office/drawing/2014/main" id="{5704F12C-BFDB-46DA-BE26-ACAAF5DB53C9}"/>
                </a:ext>
              </a:extLst>
            </p:cNvPr>
            <p:cNvSpPr/>
            <p:nvPr>
              <p:custDataLst>
                <p:tags r:id="rId41"/>
              </p:custDataLst>
            </p:nvPr>
          </p:nvSpPr>
          <p:spPr bwMode="gray">
            <a:xfrm>
              <a:off x="4332531" y="3411014"/>
              <a:ext cx="405004" cy="269915"/>
            </a:xfrm>
            <a:prstGeom prst="ellipse">
              <a:avLst/>
            </a:prstGeom>
            <a:solidFill>
              <a:srgbClr val="FFFFFF"/>
            </a:solidFill>
            <a:ln w="9525">
              <a:solidFill>
                <a:schemeClr val="tx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200">
                  <a:solidFill>
                    <a:schemeClr val="tx1"/>
                  </a:solidFill>
                  <a:latin typeface="Calibri" panose="020F0502020204030204" pitchFamily="34" charset="0"/>
                </a:rPr>
                <a:t>37%</a:t>
              </a:r>
              <a:endParaRPr lang="en-US" sz="1200" dirty="0">
                <a:solidFill>
                  <a:schemeClr val="tx1"/>
                </a:solidFill>
                <a:latin typeface="Calibri" panose="020F0502020204030204" pitchFamily="34" charset="0"/>
              </a:endParaRPr>
            </a:p>
          </p:txBody>
        </p:sp>
        <p:sp>
          <p:nvSpPr>
            <p:cNvPr id="47" name="TextBox 46">
              <a:extLst>
                <a:ext uri="{FF2B5EF4-FFF2-40B4-BE49-F238E27FC236}">
                  <a16:creationId xmlns:a16="http://schemas.microsoft.com/office/drawing/2014/main" id="{3A732B56-D562-43C8-8C45-A62DF8551BA6}"/>
                </a:ext>
              </a:extLst>
            </p:cNvPr>
            <p:cNvSpPr txBox="1"/>
            <p:nvPr>
              <p:custDataLst>
                <p:tags r:id="rId42"/>
              </p:custDataLst>
            </p:nvPr>
          </p:nvSpPr>
          <p:spPr bwMode="gray">
            <a:xfrm>
              <a:off x="2650634" y="5107762"/>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255</a:t>
              </a:r>
            </a:p>
          </p:txBody>
        </p:sp>
        <p:sp>
          <p:nvSpPr>
            <p:cNvPr id="48" name="Oval 47">
              <a:extLst>
                <a:ext uri="{FF2B5EF4-FFF2-40B4-BE49-F238E27FC236}">
                  <a16:creationId xmlns:a16="http://schemas.microsoft.com/office/drawing/2014/main" id="{10954AEA-0D13-44DF-B9E9-45C9FF4CA70B}"/>
                </a:ext>
              </a:extLst>
            </p:cNvPr>
            <p:cNvSpPr/>
            <p:nvPr>
              <p:custDataLst>
                <p:tags r:id="rId43"/>
              </p:custDataLst>
            </p:nvPr>
          </p:nvSpPr>
          <p:spPr bwMode="gray">
            <a:xfrm>
              <a:off x="1829107" y="4950027"/>
              <a:ext cx="405004" cy="269915"/>
            </a:xfrm>
            <a:prstGeom prst="ellipse">
              <a:avLst/>
            </a:prstGeom>
            <a:solidFill>
              <a:srgbClr val="FFFFFF"/>
            </a:solidFill>
            <a:ln w="9525">
              <a:solidFill>
                <a:schemeClr val="tx1"/>
              </a:solidFill>
              <a:prstDash val="solid"/>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200">
                  <a:solidFill>
                    <a:schemeClr val="tx1"/>
                  </a:solidFill>
                  <a:latin typeface="Calibri" panose="020F0502020204030204" pitchFamily="34" charset="0"/>
                </a:rPr>
                <a:t>30%</a:t>
              </a:r>
              <a:endParaRPr lang="en-US" sz="1200" dirty="0">
                <a:solidFill>
                  <a:schemeClr val="tx1"/>
                </a:solidFill>
                <a:latin typeface="Calibri" panose="020F0502020204030204" pitchFamily="34" charset="0"/>
              </a:endParaRPr>
            </a:p>
          </p:txBody>
        </p:sp>
        <p:sp>
          <p:nvSpPr>
            <p:cNvPr id="49" name="TextBox 48">
              <a:extLst>
                <a:ext uri="{FF2B5EF4-FFF2-40B4-BE49-F238E27FC236}">
                  <a16:creationId xmlns:a16="http://schemas.microsoft.com/office/drawing/2014/main" id="{95348500-19DE-4965-887D-B34529693BD9}"/>
                </a:ext>
              </a:extLst>
            </p:cNvPr>
            <p:cNvSpPr txBox="1"/>
            <p:nvPr>
              <p:custDataLst>
                <p:tags r:id="rId44"/>
              </p:custDataLst>
            </p:nvPr>
          </p:nvSpPr>
          <p:spPr bwMode="gray">
            <a:xfrm>
              <a:off x="3365898" y="4829189"/>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352</a:t>
              </a:r>
            </a:p>
          </p:txBody>
        </p:sp>
        <p:sp>
          <p:nvSpPr>
            <p:cNvPr id="50" name="TextBox 49">
              <a:extLst>
                <a:ext uri="{FF2B5EF4-FFF2-40B4-BE49-F238E27FC236}">
                  <a16:creationId xmlns:a16="http://schemas.microsoft.com/office/drawing/2014/main" id="{EC7BFDF4-DF2A-43F0-9CA3-AD1BB3E0CE0C}"/>
                </a:ext>
              </a:extLst>
            </p:cNvPr>
            <p:cNvSpPr txBox="1"/>
            <p:nvPr>
              <p:custDataLst>
                <p:tags r:id="rId45"/>
              </p:custDataLst>
            </p:nvPr>
          </p:nvSpPr>
          <p:spPr bwMode="gray">
            <a:xfrm>
              <a:off x="4796426" y="3942166"/>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661</a:t>
              </a:r>
            </a:p>
          </p:txBody>
        </p:sp>
        <p:sp>
          <p:nvSpPr>
            <p:cNvPr id="51" name="TextBox 50">
              <a:extLst>
                <a:ext uri="{FF2B5EF4-FFF2-40B4-BE49-F238E27FC236}">
                  <a16:creationId xmlns:a16="http://schemas.microsoft.com/office/drawing/2014/main" id="{2C53D424-6506-4DE6-8599-778E470F4B28}"/>
                </a:ext>
              </a:extLst>
            </p:cNvPr>
            <p:cNvSpPr txBox="1"/>
            <p:nvPr>
              <p:custDataLst>
                <p:tags r:id="rId46"/>
              </p:custDataLst>
            </p:nvPr>
          </p:nvSpPr>
          <p:spPr bwMode="gray">
            <a:xfrm>
              <a:off x="1220106" y="5407069"/>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151</a:t>
              </a:r>
            </a:p>
          </p:txBody>
        </p:sp>
        <p:sp>
          <p:nvSpPr>
            <p:cNvPr id="52" name="TextBox 51">
              <a:extLst>
                <a:ext uri="{FF2B5EF4-FFF2-40B4-BE49-F238E27FC236}">
                  <a16:creationId xmlns:a16="http://schemas.microsoft.com/office/drawing/2014/main" id="{0F03446F-D02C-40BA-89C5-40A37D1EA65D}"/>
                </a:ext>
              </a:extLst>
            </p:cNvPr>
            <p:cNvSpPr txBox="1"/>
            <p:nvPr>
              <p:custDataLst>
                <p:tags r:id="rId47"/>
              </p:custDataLst>
            </p:nvPr>
          </p:nvSpPr>
          <p:spPr bwMode="gray">
            <a:xfrm>
              <a:off x="1935370" y="5276935"/>
              <a:ext cx="192478"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196</a:t>
              </a:r>
            </a:p>
          </p:txBody>
        </p:sp>
        <p:sp>
          <p:nvSpPr>
            <p:cNvPr id="53" name="TextBox 52">
              <a:extLst>
                <a:ext uri="{FF2B5EF4-FFF2-40B4-BE49-F238E27FC236}">
                  <a16:creationId xmlns:a16="http://schemas.microsoft.com/office/drawing/2014/main" id="{2ACDE816-8F99-4F24-88E6-6342416E15A4}"/>
                </a:ext>
              </a:extLst>
            </p:cNvPr>
            <p:cNvSpPr txBox="1"/>
            <p:nvPr>
              <p:custDataLst>
                <p:tags r:id="rId48"/>
              </p:custDataLst>
            </p:nvPr>
          </p:nvSpPr>
          <p:spPr bwMode="gray">
            <a:xfrm>
              <a:off x="6186075" y="2329045"/>
              <a:ext cx="274234" cy="184666"/>
            </a:xfrm>
            <a:prstGeom prst="rect">
              <a:avLst/>
            </a:prstGeom>
            <a:noFill/>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vert="horz" wrap="none" lIns="21603" tIns="0" rIns="21603" bIns="0" rtlCol="0" anchor="b">
              <a:spAutoFit/>
            </a:bodyPr>
            <a:lstStyle/>
            <a:p>
              <a:pPr algn="ctr">
                <a:buClr>
                  <a:schemeClr val="accent3"/>
                </a:buClr>
              </a:pPr>
              <a:r>
                <a:rPr lang="en-US" sz="1200" b="1">
                  <a:latin typeface="Calibri" panose="020F0502020204030204" pitchFamily="34" charset="0"/>
                </a:rPr>
                <a:t>1,223</a:t>
              </a:r>
            </a:p>
          </p:txBody>
        </p:sp>
      </p:grpSp>
      <p:sp>
        <p:nvSpPr>
          <p:cNvPr id="54" name="Oval 53">
            <a:extLst>
              <a:ext uri="{FF2B5EF4-FFF2-40B4-BE49-F238E27FC236}">
                <a16:creationId xmlns:a16="http://schemas.microsoft.com/office/drawing/2014/main" id="{D4E1060A-4644-4D6A-BC98-6CA06D34844F}"/>
              </a:ext>
            </a:extLst>
          </p:cNvPr>
          <p:cNvSpPr/>
          <p:nvPr/>
        </p:nvSpPr>
        <p:spPr bwMode="gray">
          <a:xfrm>
            <a:off x="1902158" y="6148395"/>
            <a:ext cx="472511" cy="222767"/>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r>
              <a:rPr lang="en-US" sz="1050" dirty="0">
                <a:solidFill>
                  <a:sysClr val="windowText" lastClr="000000"/>
                </a:solidFill>
              </a:rPr>
              <a:t>Xx%      = CAGR</a:t>
            </a:r>
          </a:p>
        </p:txBody>
      </p:sp>
      <p:sp>
        <p:nvSpPr>
          <p:cNvPr id="55" name="TextBox 54">
            <a:extLst>
              <a:ext uri="{FF2B5EF4-FFF2-40B4-BE49-F238E27FC236}">
                <a16:creationId xmlns:a16="http://schemas.microsoft.com/office/drawing/2014/main" id="{7D4B376E-235D-422E-90C7-3DC8F44D363B}"/>
              </a:ext>
            </a:extLst>
          </p:cNvPr>
          <p:cNvSpPr txBox="1"/>
          <p:nvPr/>
        </p:nvSpPr>
        <p:spPr>
          <a:xfrm>
            <a:off x="9856617" y="0"/>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2598646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1858108" y="373919"/>
            <a:ext cx="8466992" cy="1325563"/>
          </a:xfrm>
        </p:spPr>
        <p:txBody>
          <a:bodyPr>
            <a:normAutofit fontScale="90000"/>
          </a:bodyPr>
          <a:lstStyle/>
          <a:p>
            <a:r>
              <a:rPr lang="en-GB" dirty="0"/>
              <a:t>IoT was enabling digital transformation </a:t>
            </a:r>
            <a:br>
              <a:rPr lang="en-GB" dirty="0"/>
            </a:br>
            <a:r>
              <a:rPr lang="en-GB" sz="2200" dirty="0"/>
              <a:t>Source: Microsoft IoT Signals Research</a:t>
            </a:r>
            <a:br>
              <a:rPr lang="en-GB" sz="2200" dirty="0"/>
            </a:br>
            <a:r>
              <a:rPr lang="en-GB" sz="2200" dirty="0"/>
              <a:t>Sample: 3233 company decision makers</a:t>
            </a:r>
          </a:p>
        </p:txBody>
      </p:sp>
      <p:pic>
        <p:nvPicPr>
          <p:cNvPr id="6" name="Picture 5" descr="A screenshot of a cell phone&#10;&#10;Description automatically generated">
            <a:extLst>
              <a:ext uri="{FF2B5EF4-FFF2-40B4-BE49-F238E27FC236}">
                <a16:creationId xmlns:a16="http://schemas.microsoft.com/office/drawing/2014/main" id="{8CC965EB-F7CA-4F01-ABC8-0F5BBA9E40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815611"/>
            <a:ext cx="9144000" cy="5143500"/>
          </a:xfrm>
          <a:prstGeom prst="rect">
            <a:avLst/>
          </a:prstGeom>
        </p:spPr>
      </p:pic>
      <p:sp>
        <p:nvSpPr>
          <p:cNvPr id="4" name="TextBox 3">
            <a:extLst>
              <a:ext uri="{FF2B5EF4-FFF2-40B4-BE49-F238E27FC236}">
                <a16:creationId xmlns:a16="http://schemas.microsoft.com/office/drawing/2014/main" id="{F14017B9-9FDC-400F-80E8-1C46154EC976}"/>
              </a:ext>
            </a:extLst>
          </p:cNvPr>
          <p:cNvSpPr txBox="1"/>
          <p:nvPr/>
        </p:nvSpPr>
        <p:spPr>
          <a:xfrm>
            <a:off x="9856617" y="-2001"/>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3507085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1858108" y="373919"/>
            <a:ext cx="8466992" cy="1325563"/>
          </a:xfrm>
        </p:spPr>
        <p:txBody>
          <a:bodyPr>
            <a:normAutofit/>
          </a:bodyPr>
          <a:lstStyle/>
          <a:p>
            <a:r>
              <a:rPr lang="en-GB" sz="4000" dirty="0"/>
              <a:t>But large majority of IoT projects were failing</a:t>
            </a:r>
          </a:p>
        </p:txBody>
      </p:sp>
      <p:sp>
        <p:nvSpPr>
          <p:cNvPr id="3" name="Rectangle 2">
            <a:extLst>
              <a:ext uri="{FF2B5EF4-FFF2-40B4-BE49-F238E27FC236}">
                <a16:creationId xmlns:a16="http://schemas.microsoft.com/office/drawing/2014/main" id="{1924A085-D46E-43F8-BB1C-BAEA0EB543E0}"/>
              </a:ext>
            </a:extLst>
          </p:cNvPr>
          <p:cNvSpPr/>
          <p:nvPr/>
        </p:nvSpPr>
        <p:spPr>
          <a:xfrm>
            <a:off x="1858108" y="2350826"/>
            <a:ext cx="8963690" cy="954107"/>
          </a:xfrm>
          <a:prstGeom prst="rect">
            <a:avLst/>
          </a:prstGeom>
        </p:spPr>
        <p:txBody>
          <a:bodyPr wrap="square">
            <a:spAutoFit/>
          </a:bodyPr>
          <a:lstStyle/>
          <a:p>
            <a:r>
              <a:rPr lang="en-GB" sz="2800" b="1" dirty="0">
                <a:solidFill>
                  <a:srgbClr val="000000"/>
                </a:solidFill>
                <a:latin typeface="Arial" panose="020B0604020202020204" pitchFamily="34" charset="0"/>
                <a:cs typeface="Arial" panose="020B0604020202020204" pitchFamily="34" charset="0"/>
              </a:rPr>
              <a:t>Microsoft: </a:t>
            </a:r>
            <a:r>
              <a:rPr lang="en-GB" sz="2800" dirty="0">
                <a:solidFill>
                  <a:srgbClr val="000000"/>
                </a:solidFill>
                <a:latin typeface="Arial" panose="020B0604020202020204" pitchFamily="34" charset="0"/>
                <a:cs typeface="Arial" panose="020B0604020202020204" pitchFamily="34" charset="0"/>
              </a:rPr>
              <a:t>30% of IoT projects fail in the proof-of-concept stage (June 2019)</a:t>
            </a:r>
            <a:endParaRPr lang="en-GB" sz="28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A9EEBE80-00CB-49B2-A159-05575868BFF9}"/>
              </a:ext>
            </a:extLst>
          </p:cNvPr>
          <p:cNvSpPr/>
          <p:nvPr/>
        </p:nvSpPr>
        <p:spPr>
          <a:xfrm>
            <a:off x="1799385" y="3652643"/>
            <a:ext cx="8172365" cy="523220"/>
          </a:xfrm>
          <a:prstGeom prst="rect">
            <a:avLst/>
          </a:prstGeom>
        </p:spPr>
        <p:txBody>
          <a:bodyPr wrap="none">
            <a:spAutoFit/>
          </a:bodyPr>
          <a:lstStyle/>
          <a:p>
            <a:r>
              <a:rPr lang="en-GB" sz="2800" b="1" dirty="0">
                <a:solidFill>
                  <a:srgbClr val="111111"/>
                </a:solidFill>
                <a:latin typeface="Arial" panose="020B0604020202020204" pitchFamily="34" charset="0"/>
                <a:cs typeface="Arial" panose="020B0604020202020204" pitchFamily="34" charset="0"/>
              </a:rPr>
              <a:t>Cisco: </a:t>
            </a:r>
            <a:r>
              <a:rPr lang="en-GB" sz="2800" dirty="0">
                <a:solidFill>
                  <a:srgbClr val="111111"/>
                </a:solidFill>
                <a:latin typeface="Arial" panose="020B0604020202020204" pitchFamily="34" charset="0"/>
                <a:cs typeface="Arial" panose="020B0604020202020204" pitchFamily="34" charset="0"/>
              </a:rPr>
              <a:t>76 Percent of IoT Projects Fail (April 2019)</a:t>
            </a:r>
            <a:endParaRPr lang="en-GB" sz="28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996E594-4FEB-47C4-834C-C58FA39701B0}"/>
              </a:ext>
            </a:extLst>
          </p:cNvPr>
          <p:cNvSpPr/>
          <p:nvPr/>
        </p:nvSpPr>
        <p:spPr>
          <a:xfrm>
            <a:off x="1858108" y="4523574"/>
            <a:ext cx="7915066" cy="1384995"/>
          </a:xfrm>
          <a:prstGeom prst="rect">
            <a:avLst/>
          </a:prstGeom>
        </p:spPr>
        <p:txBody>
          <a:bodyPr wrap="square">
            <a:spAutoFit/>
          </a:bodyPr>
          <a:lstStyle/>
          <a:p>
            <a:r>
              <a:rPr lang="en-GB" sz="2800" b="1" dirty="0">
                <a:latin typeface="Arial" panose="020B0604020202020204" pitchFamily="34" charset="0"/>
              </a:rPr>
              <a:t>Beecham Research: </a:t>
            </a:r>
            <a:r>
              <a:rPr lang="en-GB" sz="2800" dirty="0">
                <a:latin typeface="Arial" panose="020B0604020202020204" pitchFamily="34" charset="0"/>
              </a:rPr>
              <a:t>with up to 74% of companies considering their IoT projects to be unsuccessful. (February 2020)</a:t>
            </a:r>
            <a:endParaRPr lang="en-GB" sz="2800" dirty="0"/>
          </a:p>
        </p:txBody>
      </p:sp>
      <p:sp>
        <p:nvSpPr>
          <p:cNvPr id="7" name="TextBox 6">
            <a:extLst>
              <a:ext uri="{FF2B5EF4-FFF2-40B4-BE49-F238E27FC236}">
                <a16:creationId xmlns:a16="http://schemas.microsoft.com/office/drawing/2014/main" id="{3F4DF4A1-11A0-4CFE-83C7-3CCA56E29ECD}"/>
              </a:ext>
            </a:extLst>
          </p:cNvPr>
          <p:cNvSpPr txBox="1"/>
          <p:nvPr/>
        </p:nvSpPr>
        <p:spPr>
          <a:xfrm>
            <a:off x="9856617" y="0"/>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661856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255380" y="100582"/>
            <a:ext cx="10515600" cy="1325563"/>
          </a:xfrm>
        </p:spPr>
        <p:txBody>
          <a:bodyPr/>
          <a:lstStyle/>
          <a:p>
            <a:r>
              <a:rPr lang="en-US" dirty="0"/>
              <a:t>There are challenges (technological and </a:t>
            </a:r>
            <a:br>
              <a:rPr lang="en-US" dirty="0"/>
            </a:br>
            <a:r>
              <a:rPr lang="en-US" dirty="0"/>
              <a:t>non technological) to face</a:t>
            </a:r>
            <a:endParaRPr lang="en-GB" dirty="0"/>
          </a:p>
        </p:txBody>
      </p:sp>
      <p:sp>
        <p:nvSpPr>
          <p:cNvPr id="20" name="TextBox 19">
            <a:extLst>
              <a:ext uri="{FF2B5EF4-FFF2-40B4-BE49-F238E27FC236}">
                <a16:creationId xmlns:a16="http://schemas.microsoft.com/office/drawing/2014/main" id="{1C7AF1A7-2031-4A5B-B4B9-C963AEF31518}"/>
              </a:ext>
            </a:extLst>
          </p:cNvPr>
          <p:cNvSpPr txBox="1"/>
          <p:nvPr/>
        </p:nvSpPr>
        <p:spPr>
          <a:xfrm>
            <a:off x="2769856" y="1259367"/>
            <a:ext cx="4206664" cy="769441"/>
          </a:xfrm>
          <a:prstGeom prst="rect">
            <a:avLst/>
          </a:prstGeom>
          <a:noFill/>
        </p:spPr>
        <p:txBody>
          <a:bodyPr wrap="none" rtlCol="0">
            <a:spAutoFit/>
          </a:bodyPr>
          <a:lstStyle/>
          <a:p>
            <a:r>
              <a:rPr lang="en-GB" sz="4400" dirty="0"/>
              <a:t>Trust and privacy </a:t>
            </a:r>
          </a:p>
        </p:txBody>
      </p:sp>
      <p:grpSp>
        <p:nvGrpSpPr>
          <p:cNvPr id="13" name="Group 12">
            <a:extLst>
              <a:ext uri="{FF2B5EF4-FFF2-40B4-BE49-F238E27FC236}">
                <a16:creationId xmlns:a16="http://schemas.microsoft.com/office/drawing/2014/main" id="{EEA82A67-6589-47B8-B733-63DE0596FDB6}"/>
              </a:ext>
            </a:extLst>
          </p:cNvPr>
          <p:cNvGrpSpPr/>
          <p:nvPr/>
        </p:nvGrpSpPr>
        <p:grpSpPr>
          <a:xfrm>
            <a:off x="255380" y="1978502"/>
            <a:ext cx="10497015" cy="4715238"/>
            <a:chOff x="197277" y="2085520"/>
            <a:chExt cx="10497015" cy="4715238"/>
          </a:xfrm>
        </p:grpSpPr>
        <p:sp>
          <p:nvSpPr>
            <p:cNvPr id="16" name="TextBox 15">
              <a:extLst>
                <a:ext uri="{FF2B5EF4-FFF2-40B4-BE49-F238E27FC236}">
                  <a16:creationId xmlns:a16="http://schemas.microsoft.com/office/drawing/2014/main" id="{CDD16C57-4E58-4741-AC5C-CE14B4AA55C2}"/>
                </a:ext>
              </a:extLst>
            </p:cNvPr>
            <p:cNvSpPr txBox="1"/>
            <p:nvPr/>
          </p:nvSpPr>
          <p:spPr>
            <a:xfrm>
              <a:off x="208553" y="2114190"/>
              <a:ext cx="7368492" cy="769441"/>
            </a:xfrm>
            <a:prstGeom prst="rect">
              <a:avLst/>
            </a:prstGeom>
            <a:noFill/>
          </p:spPr>
          <p:txBody>
            <a:bodyPr wrap="none" rtlCol="0">
              <a:spAutoFit/>
            </a:bodyPr>
            <a:lstStyle/>
            <a:p>
              <a:r>
                <a:rPr lang="en-GB" sz="4400" dirty="0"/>
                <a:t>Integration and interoperability</a:t>
              </a:r>
            </a:p>
          </p:txBody>
        </p:sp>
        <p:sp>
          <p:nvSpPr>
            <p:cNvPr id="17" name="TextBox 16">
              <a:extLst>
                <a:ext uri="{FF2B5EF4-FFF2-40B4-BE49-F238E27FC236}">
                  <a16:creationId xmlns:a16="http://schemas.microsoft.com/office/drawing/2014/main" id="{33F10BA1-CF9E-4E70-A780-61CB9622CBB9}"/>
                </a:ext>
              </a:extLst>
            </p:cNvPr>
            <p:cNvSpPr txBox="1"/>
            <p:nvPr/>
          </p:nvSpPr>
          <p:spPr>
            <a:xfrm>
              <a:off x="8213998" y="2085520"/>
              <a:ext cx="2480294" cy="2800767"/>
            </a:xfrm>
            <a:prstGeom prst="rect">
              <a:avLst/>
            </a:prstGeom>
            <a:noFill/>
          </p:spPr>
          <p:txBody>
            <a:bodyPr wrap="none" rtlCol="0">
              <a:spAutoFit/>
            </a:bodyPr>
            <a:lstStyle/>
            <a:p>
              <a:r>
                <a:rPr lang="en-GB" sz="4400" dirty="0"/>
                <a:t>Scalability</a:t>
              </a:r>
            </a:p>
            <a:p>
              <a:endParaRPr lang="en-GB" sz="4400" dirty="0"/>
            </a:p>
            <a:p>
              <a:endParaRPr lang="en-GB" sz="4400" dirty="0"/>
            </a:p>
            <a:p>
              <a:endParaRPr lang="en-GB" sz="4400" dirty="0"/>
            </a:p>
          </p:txBody>
        </p:sp>
        <p:sp>
          <p:nvSpPr>
            <p:cNvPr id="18" name="TextBox 17">
              <a:extLst>
                <a:ext uri="{FF2B5EF4-FFF2-40B4-BE49-F238E27FC236}">
                  <a16:creationId xmlns:a16="http://schemas.microsoft.com/office/drawing/2014/main" id="{60B776FC-28FE-408C-9AE1-B6017D5EB562}"/>
                </a:ext>
              </a:extLst>
            </p:cNvPr>
            <p:cNvSpPr txBox="1"/>
            <p:nvPr/>
          </p:nvSpPr>
          <p:spPr>
            <a:xfrm>
              <a:off x="208553" y="3782240"/>
              <a:ext cx="7495257" cy="769441"/>
            </a:xfrm>
            <a:prstGeom prst="rect">
              <a:avLst/>
            </a:prstGeom>
            <a:noFill/>
          </p:spPr>
          <p:txBody>
            <a:bodyPr wrap="none" rtlCol="0">
              <a:spAutoFit/>
            </a:bodyPr>
            <a:lstStyle/>
            <a:p>
              <a:r>
                <a:rPr lang="en-GB" sz="4400" dirty="0"/>
                <a:t>Solution life-cycle management</a:t>
              </a:r>
            </a:p>
          </p:txBody>
        </p:sp>
        <p:sp>
          <p:nvSpPr>
            <p:cNvPr id="19" name="TextBox 18">
              <a:extLst>
                <a:ext uri="{FF2B5EF4-FFF2-40B4-BE49-F238E27FC236}">
                  <a16:creationId xmlns:a16="http://schemas.microsoft.com/office/drawing/2014/main" id="{16FF22DC-AE0B-4199-997B-723D66E21A31}"/>
                </a:ext>
              </a:extLst>
            </p:cNvPr>
            <p:cNvSpPr txBox="1"/>
            <p:nvPr/>
          </p:nvSpPr>
          <p:spPr>
            <a:xfrm>
              <a:off x="243466" y="4677100"/>
              <a:ext cx="7236661" cy="2123658"/>
            </a:xfrm>
            <a:prstGeom prst="rect">
              <a:avLst/>
            </a:prstGeom>
            <a:noFill/>
          </p:spPr>
          <p:txBody>
            <a:bodyPr wrap="none" rtlCol="0">
              <a:spAutoFit/>
            </a:bodyPr>
            <a:lstStyle/>
            <a:p>
              <a:r>
                <a:rPr lang="en-GB" sz="4400" dirty="0"/>
                <a:t>Skills and new ways of working</a:t>
              </a:r>
            </a:p>
            <a:p>
              <a:r>
                <a:rPr lang="en-GB" sz="4400" dirty="0"/>
                <a:t>Human-machine interaction</a:t>
              </a:r>
            </a:p>
            <a:p>
              <a:r>
                <a:rPr lang="en-GB" sz="4400" dirty="0"/>
                <a:t>Prediction and automation</a:t>
              </a:r>
            </a:p>
          </p:txBody>
        </p:sp>
        <p:sp>
          <p:nvSpPr>
            <p:cNvPr id="22" name="TextBox 21">
              <a:extLst>
                <a:ext uri="{FF2B5EF4-FFF2-40B4-BE49-F238E27FC236}">
                  <a16:creationId xmlns:a16="http://schemas.microsoft.com/office/drawing/2014/main" id="{623836FC-EC07-4680-A380-EA675E775F33}"/>
                </a:ext>
              </a:extLst>
            </p:cNvPr>
            <p:cNvSpPr txBox="1"/>
            <p:nvPr/>
          </p:nvSpPr>
          <p:spPr>
            <a:xfrm>
              <a:off x="197277" y="2909890"/>
              <a:ext cx="6507038" cy="769441"/>
            </a:xfrm>
            <a:prstGeom prst="rect">
              <a:avLst/>
            </a:prstGeom>
            <a:noFill/>
          </p:spPr>
          <p:txBody>
            <a:bodyPr wrap="none" rtlCol="0">
              <a:spAutoFit/>
            </a:bodyPr>
            <a:lstStyle/>
            <a:p>
              <a:r>
                <a:rPr lang="en-GB" sz="4400" dirty="0"/>
                <a:t>Cloud and edge intelligence</a:t>
              </a:r>
            </a:p>
          </p:txBody>
        </p:sp>
      </p:grpSp>
      <p:sp>
        <p:nvSpPr>
          <p:cNvPr id="23" name="TextBox 22">
            <a:extLst>
              <a:ext uri="{FF2B5EF4-FFF2-40B4-BE49-F238E27FC236}">
                <a16:creationId xmlns:a16="http://schemas.microsoft.com/office/drawing/2014/main" id="{610B9401-DE96-49D6-A96D-DBFF89F2B302}"/>
              </a:ext>
            </a:extLst>
          </p:cNvPr>
          <p:cNvSpPr txBox="1"/>
          <p:nvPr/>
        </p:nvSpPr>
        <p:spPr>
          <a:xfrm>
            <a:off x="266656" y="1259367"/>
            <a:ext cx="2031325" cy="769441"/>
          </a:xfrm>
          <a:prstGeom prst="rect">
            <a:avLst/>
          </a:prstGeom>
          <a:noFill/>
        </p:spPr>
        <p:txBody>
          <a:bodyPr wrap="none" rtlCol="0">
            <a:spAutoFit/>
          </a:bodyPr>
          <a:lstStyle/>
          <a:p>
            <a:r>
              <a:rPr lang="en-GB" sz="4400" dirty="0"/>
              <a:t>Security</a:t>
            </a:r>
          </a:p>
        </p:txBody>
      </p:sp>
      <p:sp>
        <p:nvSpPr>
          <p:cNvPr id="11" name="TextBox 10">
            <a:extLst>
              <a:ext uri="{FF2B5EF4-FFF2-40B4-BE49-F238E27FC236}">
                <a16:creationId xmlns:a16="http://schemas.microsoft.com/office/drawing/2014/main" id="{82A54B51-97CA-4FEA-960C-DA45A8AD47ED}"/>
              </a:ext>
            </a:extLst>
          </p:cNvPr>
          <p:cNvSpPr txBox="1"/>
          <p:nvPr/>
        </p:nvSpPr>
        <p:spPr>
          <a:xfrm>
            <a:off x="9856617" y="5666"/>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2432915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1723334" y="349167"/>
            <a:ext cx="7886700" cy="994172"/>
          </a:xfrm>
        </p:spPr>
        <p:txBody>
          <a:bodyPr>
            <a:normAutofit fontScale="90000"/>
          </a:bodyPr>
          <a:lstStyle/>
          <a:p>
            <a:r>
              <a:rPr lang="en-GB" dirty="0"/>
              <a:t>Two forces to address the challenges and shape market dynamics in 2020</a:t>
            </a:r>
          </a:p>
        </p:txBody>
      </p:sp>
      <p:sp>
        <p:nvSpPr>
          <p:cNvPr id="3" name="Oval 2">
            <a:extLst>
              <a:ext uri="{FF2B5EF4-FFF2-40B4-BE49-F238E27FC236}">
                <a16:creationId xmlns:a16="http://schemas.microsoft.com/office/drawing/2014/main" id="{E511B11D-7C16-4E8C-8036-83BDE83B19FA}"/>
              </a:ext>
            </a:extLst>
          </p:cNvPr>
          <p:cNvSpPr/>
          <p:nvPr/>
        </p:nvSpPr>
        <p:spPr>
          <a:xfrm>
            <a:off x="4881444" y="2681416"/>
            <a:ext cx="2391033" cy="23972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oT Challenges</a:t>
            </a:r>
          </a:p>
        </p:txBody>
      </p:sp>
      <p:sp>
        <p:nvSpPr>
          <p:cNvPr id="16" name="Oval 15">
            <a:extLst>
              <a:ext uri="{FF2B5EF4-FFF2-40B4-BE49-F238E27FC236}">
                <a16:creationId xmlns:a16="http://schemas.microsoft.com/office/drawing/2014/main" id="{7E2A611E-BB60-41DD-830C-E977456C0C9D}"/>
              </a:ext>
            </a:extLst>
          </p:cNvPr>
          <p:cNvSpPr/>
          <p:nvPr/>
        </p:nvSpPr>
        <p:spPr>
          <a:xfrm>
            <a:off x="1717268" y="2681416"/>
            <a:ext cx="2391033" cy="2397211"/>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implifying IoT solution design and deployment</a:t>
            </a:r>
          </a:p>
        </p:txBody>
      </p:sp>
      <p:sp>
        <p:nvSpPr>
          <p:cNvPr id="17" name="Oval 16">
            <a:extLst>
              <a:ext uri="{FF2B5EF4-FFF2-40B4-BE49-F238E27FC236}">
                <a16:creationId xmlns:a16="http://schemas.microsoft.com/office/drawing/2014/main" id="{7181BFD6-4DAE-4007-9599-A0B331D4CC71}"/>
              </a:ext>
            </a:extLst>
          </p:cNvPr>
          <p:cNvSpPr/>
          <p:nvPr/>
        </p:nvSpPr>
        <p:spPr>
          <a:xfrm>
            <a:off x="8077633" y="2592859"/>
            <a:ext cx="2391033" cy="2397211"/>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Moving the IoT to the era of prediction and automation</a:t>
            </a:r>
          </a:p>
        </p:txBody>
      </p:sp>
      <p:sp>
        <p:nvSpPr>
          <p:cNvPr id="4" name="Arrow: Right 3">
            <a:extLst>
              <a:ext uri="{FF2B5EF4-FFF2-40B4-BE49-F238E27FC236}">
                <a16:creationId xmlns:a16="http://schemas.microsoft.com/office/drawing/2014/main" id="{8C02F8F9-5806-4F0D-AA0D-AFF1C4DA71F2}"/>
              </a:ext>
            </a:extLst>
          </p:cNvPr>
          <p:cNvSpPr/>
          <p:nvPr/>
        </p:nvSpPr>
        <p:spPr>
          <a:xfrm rot="10800000">
            <a:off x="7290760" y="3294378"/>
            <a:ext cx="768589" cy="994171"/>
          </a:xfrm>
          <a:prstGeom prst="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Right 17">
            <a:extLst>
              <a:ext uri="{FF2B5EF4-FFF2-40B4-BE49-F238E27FC236}">
                <a16:creationId xmlns:a16="http://schemas.microsoft.com/office/drawing/2014/main" id="{DC9FF458-6886-47FF-8652-56E77722AB21}"/>
              </a:ext>
            </a:extLst>
          </p:cNvPr>
          <p:cNvSpPr/>
          <p:nvPr/>
        </p:nvSpPr>
        <p:spPr>
          <a:xfrm>
            <a:off x="4132650" y="3382935"/>
            <a:ext cx="768589" cy="994171"/>
          </a:xfrm>
          <a:prstGeom prst="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1C3A98E5-E60E-465E-B11E-DEDCAFEFBBC1}"/>
              </a:ext>
            </a:extLst>
          </p:cNvPr>
          <p:cNvSpPr txBox="1"/>
          <p:nvPr/>
        </p:nvSpPr>
        <p:spPr>
          <a:xfrm>
            <a:off x="9856617" y="0"/>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3866574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1D6F-D641-46EC-955E-A662FA8D3C5A}"/>
              </a:ext>
            </a:extLst>
          </p:cNvPr>
          <p:cNvSpPr>
            <a:spLocks noGrp="1"/>
          </p:cNvSpPr>
          <p:nvPr>
            <p:ph type="title"/>
          </p:nvPr>
        </p:nvSpPr>
        <p:spPr>
          <a:xfrm>
            <a:off x="1084905" y="215605"/>
            <a:ext cx="8654282" cy="994172"/>
          </a:xfrm>
        </p:spPr>
        <p:txBody>
          <a:bodyPr>
            <a:normAutofit fontScale="90000"/>
          </a:bodyPr>
          <a:lstStyle/>
          <a:p>
            <a:r>
              <a:rPr lang="en-GB" dirty="0"/>
              <a:t>Simplification for reducing the ratio of IoT projects failure </a:t>
            </a:r>
          </a:p>
        </p:txBody>
      </p:sp>
      <p:sp>
        <p:nvSpPr>
          <p:cNvPr id="16" name="Oval 15">
            <a:extLst>
              <a:ext uri="{FF2B5EF4-FFF2-40B4-BE49-F238E27FC236}">
                <a16:creationId xmlns:a16="http://schemas.microsoft.com/office/drawing/2014/main" id="{7E2A611E-BB60-41DD-830C-E977456C0C9D}"/>
              </a:ext>
            </a:extLst>
          </p:cNvPr>
          <p:cNvSpPr/>
          <p:nvPr/>
        </p:nvSpPr>
        <p:spPr>
          <a:xfrm>
            <a:off x="1723335" y="2953263"/>
            <a:ext cx="2088213" cy="2101106"/>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implifying IoT solution design and deployment</a:t>
            </a:r>
          </a:p>
        </p:txBody>
      </p:sp>
      <p:sp>
        <p:nvSpPr>
          <p:cNvPr id="4" name="Oval 3">
            <a:extLst>
              <a:ext uri="{FF2B5EF4-FFF2-40B4-BE49-F238E27FC236}">
                <a16:creationId xmlns:a16="http://schemas.microsoft.com/office/drawing/2014/main" id="{F95BB89E-CA03-45BB-9679-3CC10F5D6463}"/>
              </a:ext>
            </a:extLst>
          </p:cNvPr>
          <p:cNvSpPr/>
          <p:nvPr/>
        </p:nvSpPr>
        <p:spPr>
          <a:xfrm>
            <a:off x="5229699" y="1001485"/>
            <a:ext cx="2046371" cy="18158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evice design for the specific context and requirements</a:t>
            </a:r>
          </a:p>
        </p:txBody>
      </p:sp>
      <p:sp>
        <p:nvSpPr>
          <p:cNvPr id="6" name="Oval 5">
            <a:extLst>
              <a:ext uri="{FF2B5EF4-FFF2-40B4-BE49-F238E27FC236}">
                <a16:creationId xmlns:a16="http://schemas.microsoft.com/office/drawing/2014/main" id="{5BA1E6D7-8799-4620-B514-39ADDEB72348}"/>
              </a:ext>
            </a:extLst>
          </p:cNvPr>
          <p:cNvSpPr/>
          <p:nvPr/>
        </p:nvSpPr>
        <p:spPr>
          <a:xfrm>
            <a:off x="5229700" y="2953263"/>
            <a:ext cx="1948249" cy="18592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Global, reliable, cost-effective connectivity</a:t>
            </a:r>
          </a:p>
        </p:txBody>
      </p:sp>
      <p:sp>
        <p:nvSpPr>
          <p:cNvPr id="7" name="Oval 6">
            <a:extLst>
              <a:ext uri="{FF2B5EF4-FFF2-40B4-BE49-F238E27FC236}">
                <a16:creationId xmlns:a16="http://schemas.microsoft.com/office/drawing/2014/main" id="{27C32FF5-A532-488A-8238-3F8A3666D6E2}"/>
              </a:ext>
            </a:extLst>
          </p:cNvPr>
          <p:cNvSpPr/>
          <p:nvPr/>
        </p:nvSpPr>
        <p:spPr>
          <a:xfrm>
            <a:off x="5229699" y="4848413"/>
            <a:ext cx="1948249" cy="18592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asy and secure integration with cloud system</a:t>
            </a:r>
          </a:p>
        </p:txBody>
      </p:sp>
      <p:sp>
        <p:nvSpPr>
          <p:cNvPr id="5" name="Arrow: Right 4">
            <a:extLst>
              <a:ext uri="{FF2B5EF4-FFF2-40B4-BE49-F238E27FC236}">
                <a16:creationId xmlns:a16="http://schemas.microsoft.com/office/drawing/2014/main" id="{1DF2F8C7-3192-4F45-93E4-92453322DFAE}"/>
              </a:ext>
            </a:extLst>
          </p:cNvPr>
          <p:cNvSpPr/>
          <p:nvPr/>
        </p:nvSpPr>
        <p:spPr>
          <a:xfrm rot="19851865">
            <a:off x="3387041" y="2427067"/>
            <a:ext cx="1744273" cy="549876"/>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Right 8">
            <a:extLst>
              <a:ext uri="{FF2B5EF4-FFF2-40B4-BE49-F238E27FC236}">
                <a16:creationId xmlns:a16="http://schemas.microsoft.com/office/drawing/2014/main" id="{54C5DA5D-AF33-430C-BFC1-9E0C82ABE1CE}"/>
              </a:ext>
            </a:extLst>
          </p:cNvPr>
          <p:cNvSpPr/>
          <p:nvPr/>
        </p:nvSpPr>
        <p:spPr>
          <a:xfrm>
            <a:off x="3860968" y="3785733"/>
            <a:ext cx="1190887" cy="549876"/>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row: Right 9">
            <a:extLst>
              <a:ext uri="{FF2B5EF4-FFF2-40B4-BE49-F238E27FC236}">
                <a16:creationId xmlns:a16="http://schemas.microsoft.com/office/drawing/2014/main" id="{BBD3D15E-E084-4BD7-A355-6BB7A6770796}"/>
              </a:ext>
            </a:extLst>
          </p:cNvPr>
          <p:cNvSpPr/>
          <p:nvPr/>
        </p:nvSpPr>
        <p:spPr>
          <a:xfrm rot="1742511">
            <a:off x="3452510" y="4904806"/>
            <a:ext cx="1730918" cy="549876"/>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ADC1D14E-6F04-4BF8-AEC2-66008D994E1C}"/>
              </a:ext>
            </a:extLst>
          </p:cNvPr>
          <p:cNvSpPr txBox="1"/>
          <p:nvPr/>
        </p:nvSpPr>
        <p:spPr>
          <a:xfrm>
            <a:off x="7850660" y="1692876"/>
            <a:ext cx="184731" cy="369332"/>
          </a:xfrm>
          <a:prstGeom prst="rect">
            <a:avLst/>
          </a:prstGeom>
          <a:noFill/>
        </p:spPr>
        <p:txBody>
          <a:bodyPr wrap="none" rtlCol="0">
            <a:spAutoFit/>
          </a:bodyPr>
          <a:lstStyle/>
          <a:p>
            <a:endParaRPr lang="en-GB" dirty="0"/>
          </a:p>
        </p:txBody>
      </p:sp>
      <p:sp>
        <p:nvSpPr>
          <p:cNvPr id="12" name="Rectangle 11">
            <a:extLst>
              <a:ext uri="{FF2B5EF4-FFF2-40B4-BE49-F238E27FC236}">
                <a16:creationId xmlns:a16="http://schemas.microsoft.com/office/drawing/2014/main" id="{0A4C38D1-2A3F-45F6-9397-EA818AA06DD8}"/>
              </a:ext>
            </a:extLst>
          </p:cNvPr>
          <p:cNvSpPr/>
          <p:nvPr/>
        </p:nvSpPr>
        <p:spPr>
          <a:xfrm>
            <a:off x="5051855" y="832468"/>
            <a:ext cx="2526957" cy="590653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D7A9BF7D-A1DB-4685-8279-16AE2E1223A9}"/>
              </a:ext>
            </a:extLst>
          </p:cNvPr>
          <p:cNvSpPr txBox="1"/>
          <p:nvPr/>
        </p:nvSpPr>
        <p:spPr>
          <a:xfrm>
            <a:off x="7624422" y="2702005"/>
            <a:ext cx="2991781" cy="1938992"/>
          </a:xfrm>
          <a:prstGeom prst="rect">
            <a:avLst/>
          </a:prstGeom>
          <a:noFill/>
        </p:spPr>
        <p:txBody>
          <a:bodyPr wrap="none" rtlCol="0">
            <a:spAutoFit/>
          </a:bodyPr>
          <a:lstStyle/>
          <a:p>
            <a:r>
              <a:rPr lang="en-GB" sz="4000" b="1" dirty="0"/>
              <a:t>One solution</a:t>
            </a:r>
          </a:p>
          <a:p>
            <a:r>
              <a:rPr lang="en-GB" sz="4000" b="1" dirty="0"/>
              <a:t>One provider</a:t>
            </a:r>
          </a:p>
          <a:p>
            <a:r>
              <a:rPr lang="en-GB" sz="4000" b="1" dirty="0"/>
              <a:t>One support</a:t>
            </a:r>
          </a:p>
        </p:txBody>
      </p:sp>
      <p:sp>
        <p:nvSpPr>
          <p:cNvPr id="14" name="TextBox 13">
            <a:extLst>
              <a:ext uri="{FF2B5EF4-FFF2-40B4-BE49-F238E27FC236}">
                <a16:creationId xmlns:a16="http://schemas.microsoft.com/office/drawing/2014/main" id="{1218A026-B255-4BC1-AD36-332B0782B077}"/>
              </a:ext>
            </a:extLst>
          </p:cNvPr>
          <p:cNvSpPr txBox="1"/>
          <p:nvPr/>
        </p:nvSpPr>
        <p:spPr>
          <a:xfrm>
            <a:off x="9856617" y="7444"/>
            <a:ext cx="2335383" cy="1200329"/>
          </a:xfrm>
          <a:prstGeom prst="rect">
            <a:avLst/>
          </a:prstGeom>
          <a:solidFill>
            <a:schemeClr val="accent6"/>
          </a:solidFill>
          <a:ln>
            <a:solidFill>
              <a:schemeClr val="accent6"/>
            </a:solidFill>
          </a:ln>
        </p:spPr>
        <p:txBody>
          <a:bodyPr wrap="none" rtlCol="0">
            <a:spAutoFit/>
          </a:bodyPr>
          <a:lstStyle/>
          <a:p>
            <a:r>
              <a:rPr lang="en-GB" b="1" dirty="0"/>
              <a:t>Pre-</a:t>
            </a:r>
            <a:r>
              <a:rPr lang="en-GB" b="1" dirty="0" err="1"/>
              <a:t>Covid</a:t>
            </a:r>
            <a:r>
              <a:rPr lang="en-GB" b="1" dirty="0"/>
              <a:t> 19 Phase</a:t>
            </a:r>
          </a:p>
          <a:p>
            <a:r>
              <a:rPr lang="en-GB" dirty="0"/>
              <a:t>The energy of the </a:t>
            </a:r>
          </a:p>
          <a:p>
            <a:r>
              <a:rPr lang="en-GB" dirty="0"/>
              <a:t>digital transformation </a:t>
            </a:r>
          </a:p>
          <a:p>
            <a:r>
              <a:rPr lang="en-GB" dirty="0"/>
              <a:t>paradigm</a:t>
            </a:r>
          </a:p>
        </p:txBody>
      </p:sp>
    </p:spTree>
    <p:extLst>
      <p:ext uri="{BB962C8B-B14F-4D97-AF65-F5344CB8AC3E}">
        <p14:creationId xmlns:p14="http://schemas.microsoft.com/office/powerpoint/2010/main" val="2960205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PLORISTAG" val="MJmcEPcaR8fRyjjxX"/>
</p:tagLst>
</file>

<file path=ppt/tags/tag10.xml><?xml version="1.0" encoding="utf-8"?>
<p:tagLst xmlns:a="http://schemas.openxmlformats.org/drawingml/2006/main" xmlns:r="http://schemas.openxmlformats.org/officeDocument/2006/relationships" xmlns:p="http://schemas.openxmlformats.org/presentationml/2006/main">
  <p:tag name="APLORISTAG" val="MJmcEPcaR8fRyjjxX.10"/>
</p:tagLst>
</file>

<file path=ppt/tags/tag11.xml><?xml version="1.0" encoding="utf-8"?>
<p:tagLst xmlns:a="http://schemas.openxmlformats.org/drawingml/2006/main" xmlns:r="http://schemas.openxmlformats.org/officeDocument/2006/relationships" xmlns:p="http://schemas.openxmlformats.org/presentationml/2006/main">
  <p:tag name="APLORISTAG" val="MJmcEPcaR8fRyjjxX.44"/>
</p:tagLst>
</file>

<file path=ppt/tags/tag12.xml><?xml version="1.0" encoding="utf-8"?>
<p:tagLst xmlns:a="http://schemas.openxmlformats.org/drawingml/2006/main" xmlns:r="http://schemas.openxmlformats.org/officeDocument/2006/relationships" xmlns:p="http://schemas.openxmlformats.org/presentationml/2006/main">
  <p:tag name="APLORISTAG" val="MJmcEPcaR8fRyjjxX.45"/>
</p:tagLst>
</file>

<file path=ppt/tags/tag13.xml><?xml version="1.0" encoding="utf-8"?>
<p:tagLst xmlns:a="http://schemas.openxmlformats.org/drawingml/2006/main" xmlns:r="http://schemas.openxmlformats.org/officeDocument/2006/relationships" xmlns:p="http://schemas.openxmlformats.org/presentationml/2006/main">
  <p:tag name="APLORISTAG" val="MJmcEPcaR8fRyjjxX.48"/>
</p:tagLst>
</file>

<file path=ppt/tags/tag14.xml><?xml version="1.0" encoding="utf-8"?>
<p:tagLst xmlns:a="http://schemas.openxmlformats.org/drawingml/2006/main" xmlns:r="http://schemas.openxmlformats.org/officeDocument/2006/relationships" xmlns:p="http://schemas.openxmlformats.org/presentationml/2006/main">
  <p:tag name="APLORISTAG" val="MJmcEPcaR8fRyjjxX.49"/>
</p:tagLst>
</file>

<file path=ppt/tags/tag15.xml><?xml version="1.0" encoding="utf-8"?>
<p:tagLst xmlns:a="http://schemas.openxmlformats.org/drawingml/2006/main" xmlns:r="http://schemas.openxmlformats.org/officeDocument/2006/relationships" xmlns:p="http://schemas.openxmlformats.org/presentationml/2006/main">
  <p:tag name="APLORISTAG" val="MJmcEPcaR8fRyjjxX.55"/>
</p:tagLst>
</file>

<file path=ppt/tags/tag16.xml><?xml version="1.0" encoding="utf-8"?>
<p:tagLst xmlns:a="http://schemas.openxmlformats.org/drawingml/2006/main" xmlns:r="http://schemas.openxmlformats.org/officeDocument/2006/relationships" xmlns:p="http://schemas.openxmlformats.org/presentationml/2006/main">
  <p:tag name="APLORISTAG" val="MJmcEPcaR8fRyjjxX.70"/>
</p:tagLst>
</file>

<file path=ppt/tags/tag17.xml><?xml version="1.0" encoding="utf-8"?>
<p:tagLst xmlns:a="http://schemas.openxmlformats.org/drawingml/2006/main" xmlns:r="http://schemas.openxmlformats.org/officeDocument/2006/relationships" xmlns:p="http://schemas.openxmlformats.org/presentationml/2006/main">
  <p:tag name="APLORISTAG" val="MJmcEPcaR8fRyjjxX.46"/>
</p:tagLst>
</file>

<file path=ppt/tags/tag18.xml><?xml version="1.0" encoding="utf-8"?>
<p:tagLst xmlns:a="http://schemas.openxmlformats.org/drawingml/2006/main" xmlns:r="http://schemas.openxmlformats.org/officeDocument/2006/relationships" xmlns:p="http://schemas.openxmlformats.org/presentationml/2006/main">
  <p:tag name="APLORISTAG" val="MJmcEPcaR8fRyjjxX.47"/>
</p:tagLst>
</file>

<file path=ppt/tags/tag19.xml><?xml version="1.0" encoding="utf-8"?>
<p:tagLst xmlns:a="http://schemas.openxmlformats.org/drawingml/2006/main" xmlns:r="http://schemas.openxmlformats.org/officeDocument/2006/relationships" xmlns:p="http://schemas.openxmlformats.org/presentationml/2006/main">
  <p:tag name="APLORISTAG" val="MJmcEPcaR8fRyjjxX.50"/>
</p:tagLst>
</file>

<file path=ppt/tags/tag2.xml><?xml version="1.0" encoding="utf-8"?>
<p:tagLst xmlns:a="http://schemas.openxmlformats.org/drawingml/2006/main" xmlns:r="http://schemas.openxmlformats.org/officeDocument/2006/relationships" xmlns:p="http://schemas.openxmlformats.org/presentationml/2006/main">
  <p:tag name="APLORISTAG" val="MJmcEPcaR8fRyjjxX.5"/>
  <p:tag name="APLORISCONTAINERTAG" val="AAEAAAD/////AQAAAAAAAAAMAgAAAFJBcGxvcmlzLkJhc2UsIFZlcnNpb249NC4yLjAuMTkyNywgQ3VsdHVyZT1uZXV0cmFsLCBQdWJsaWNLZXlUb2tlbj0xNmZjMTNhMjI2YzBlOTUxBQEAAAApQXBsb3Jpcy5CYXNlLk9iamVjdHMuQ29udGFpbmVyVmVyc2lvbkluZm8CAAAADVJlcXVpcmVkQnVpbGQJVXNlZEJ1aWxkAAAICAIAAAB4BQAAhwcAAAsAAQAAAP////8BAAAAAAAAAAwCAAAAU0FwbG9yaXMuQ2hhcnQsIFZlcnNpb249NC4yLjAuMTkyNywgQ3VsdHVyZT1uZXV0cmFsLCBQdWJsaWNLZXlUb2tlbj0xNmZjMTNhMjI2YzBlOTUxDAMAAABSQXBsb3Jpcy5CYXNlLCBWZXJzaW9uPTQuMi4wLjE5MjcsIEN1bHR1cmU9bmV1dHJhbCwgUHVibGljS2V5VG9rZW49MTZmYzEzYTIyNmMwZTk1MQwEAAAAUVN5c3RlbS5EcmF3aW5nLCBWZXJzaW9uPTQuMC4wLjAsIEN1bHR1cmU9bmV1dHJhbCwgUHVibGljS2V5VG9rZW49YjAzZjVmN2YxMWQ1MGEzYQUBAAAAIUFwbG9yaXMuQ2hhcnQuQ29sdW1uT3JpZW50ZWRDaGFydE8AAAAKbUNoYXJ0VHlwZQ1tQ2F0ZWdvcnlBeGlzCm1WYWx1ZUF4aXMLbVZhbHVlQXhpczIYbVZhbHVlQXhpczFCb3R0b21PclJpZ2h0EW1VbnVzZWREYXRhU2VyaWVzFW1VbnVzZWREYXRhU2VyaWVzTGlzdBBtQ2hhcnREYXRhU2VyaWVzFW1Bbm5vdGF0aW9uRGF0YVNlcmllcxFtQW5ub3RhdGlvbkdyb3VwcxBtQ2hhcnREYXRhR3JvdXBzCm1EZWx0YUJhcnMNbURlbHRhQnJpZGdlcw1tR3Jvd3RoQXJyb3dzFG1XYXRlcmZhbGxDb25uZWN0b3JzEm1FbGVtZW50Q29ubmVjdG9ycxptU3RhbmRhcmRFbGVtZW50Q29ubmVjdG9ycwhtQmFyVHlwZRdtRXh0ZW5kZWRDdXN0b21TdGFja2luZxJtRGVmYXVsdFNlcmllc1R5cGUHbUxlZ2VuZBZtQ2x1c3RlcmVkQmFyQXhpc09yZGVyE21SZXZlcnNlU2VyaWVzT3JkZXIPbUFubm90YXRpb25BcmVhFG1Bbm5vdGF0aW9uR3JvdXBBcmVhF21QbGFjZWhvbGRlckdyb3Vwc0F0RW5kDm1IYXNDdXN0b21TdW1zFW1BeGlzQnJlYWtEaXNwbGF5TW9kZRFtU2hvd1Nlcmllc0xhYmVscxJtU2hvd0VsZW1lbnRMYWJlbHMQbVNob3dUb3RhbExhYmVscw5tTWVra29TdW1MYWJlbAptUmlkZ2VMaW5lGG1NZWtrb1N1bU51bWJlckZvcm1hdEFicxdtTWVra29TdW1MYWJlbFBvc2l0aW9ucxltTWVra29TdW1MYWJlbEFuY2hvck1vZGVzFm1NZWtrb1N1bUxhYmVsUG9zaXRpb24NbUhhc1JpZGdlTGluZQ1tR3JvdXBCYXJBeGlzDW1FeGNlbENvbHVtbnMRbUV4Y2VsQ29sdW1uQXJyYXkTbUNsdXN0ZXJlZEJhclNlcmllcxNtQ3VzdG9tU3RhY2tpbmdEYXRhJVJlY3Rhbmd1bGFyQ2hhcnQrbUJhc2VsaW5lT3JpZW50YXRpb24bUmVjdGFuZ3VsYXJDaGFydCttUmVjdGFuZ2xlEENoYXJ0K21DaGFydEFyZWESQ2hhcnQrbUhhc0RhdGFMaW5rEUNoYXJ0K21EYXRhTGlua0lkFUNoYXJ0K21BdXRvRGF0YVVwZGF0ZRpDaGFydCttQXZhaWxhYmxlVXBkYXRlRmlsZRNDaGFydCttTGFzdExpbmtGaWxlDENoYXJ0K21TaGVldBRDaGFydCttVHJhbnNwb3NlRGF0YRpDaGFydCttU2VyaWFsaXplZERhdGFUYWJsZRBDaGFydCttRml4ZWRSb3dzE0NoYXJ0K21GaXhlZENvbHVtbnMbQ2hhcnQrbUZpbGxDb2xvclNjaGVtZUluZGV4HENoYXJ0K21MaW5lRm9ybWF0U2NoZW1lSW5kZXgeQ2hhcnQrbU1hcmtlckZvcm1hdFNjaGVtZUluZGV4DkNoYXJ0K21VcGRhdGVkFkNoYXJ0K21SZXF1aXJlZEFyZWFTZXQTQ2hhcnQrbVJlcXVpcmVkQXJlYQ9Db250YWluZXIrbUxlZnQOQ29udGFpbmVyK21Ub3AQQ29udGFpbmVyK21XaWR0aBFDb250YWluZXIrbUhlaWdodBxDb250YWluZXIrbUNvbnRhaW5lclNoYXBlUG9zDUNvbnRhaW5lcittSWQRQ29udGFpbmVyK21UeXBlSWQWQ29udGFpbmVyK21EZWZhdWx0Rm9udB1Db250YWluZXIrbURlZmF1bHRGb250RmFyRWFzdBxDb250YWluZXIrbURlZmF1bHRUZXh0Rm9ybWF0FkNvbnRhaW5lcittVGhlbWVDb2xvcnMSQ29udGFpbmVyK21DbG9uaW5nE0NvbnRhaW5lcittUGVyc0RhdGEYRGF0YU9iamVjdCttQ2hpbGRPYmplY3RzEkRhdGFPYmplY3QrbVBhcmVudBVEYXRhT2JqZWN0K21Db250YWluZXIZRGF0YU9iamVjdCttVmlzdWFsT2JqZWN0cwQEBAQAAwMEBAQEBAQEBAQABAAEBAAABAQAAAQAAAAEBAQEBAAABAMHAAQEBAQAAwABAQcABAcHAAAAAAAEAAAAAAQBAAEBBAQAAgMEBAMlQXBsb3Jpcy5DaGFydC5Db2x1bW5PcmllbnRlZENoYXJ0VHlwZQIAAAAlQXBsb3Jpcy5DaGFydC5Db2x1bW5PcmllbnRlZENoYXJ0QXhpcwIAAAAlQXBsb3Jpcy5DaGFydC5Db2x1bW5PcmllbnRlZENoYXJ0QXhpcwIAAAAlQXBsb3Jpcy5DaGFydC5Db2x1bW5PcmllbnRlZENoYXJ0QXhpcwIAAAABsgFTeXN0ZW0uQ29sbGVjdGlvbnMuT2JqZWN0TW9kZWwuQ29sbGVjdGlvbmAxW1tBcGxvcmlzLkNoYXJ0LkNvbHVtbk9yaWVudGVkQ2hhcnQrVW51c2VkU2VyaWVzLCBBcGxvcmlzLkNoYXJ0LCBWZXJzaW9uPTQuMi4wLjE5MjcsIEN1bHR1cmU9bmV1dHJhbCwgUHVibGljS2V5VG9rZW49MTZmYzEzYTIyNmMwZTk1MV1dqAFTeXN0ZW0uQ29sbGVjdGlvbnMuR2VuZXJpYy5MaXN0YDFbW0FwbG9yaXMuQ2hhcnQuQ29sdW1uT3JpZW50ZWRDaGFydCtVbnVzZWRTZXJpZXMsIEFwbG9yaXMuQ2hhcnQsIFZlcnNpb249NC4yLjAuMTkyNywgQ3VsdHVyZT1uZXV0cmFsLCBQdWJsaWNLZXlUb2tlbj0xNmZjMTNhMjI2YzBlOTUxXV2hAUFwbG9yaXMuQmFzZS5PYmplY3RzLkRhdGFPYmplY3RDb2xsZWN0aW9uYDFbW0FwbG9yaXMuQ2hhcnQuQ2hhcnREYXRhU2VyaWVzLCBBcGxvcmlzLkNoYXJ0LCBWZXJzaW9uPTQuMi4wLjE5MjcsIEN1bHR1cmU9bmV1dHJhbCwgUHVibGljS2V5VG9rZW49MTZmYzEzYTIyNmMwZTk1MV1dAwAAAKYBQXBsb3Jpcy5CYXNlLk9iamVjdHMuRGF0YU9iamVjdENvbGxlY3Rpb25gMVtbQXBsb3Jpcy5DaGFydC5Bbm5vdGF0aW9uRGF0YVNlcmllcywgQXBsb3Jpcy5DaGFydCwgVmVyc2lvbj00LjIuMC4xOTI3LCBDdWx0dXJlPW5ldXRyYWwsIFB1YmxpY0tleVRva2VuPTE2ZmMxM2EyMjZjMGU5NTFdXQMAAAChAUFwbG9yaXMuQmFzZS5PYmplY3RzLkRhdGFPYmplY3RDb2xsZWN0aW9uYDFbW0FwbG9yaXMuQ2hhcnQuQW5ub3RhdGlvbkdyb3VwLCBBcGxvcmlzLkNoYXJ0LCBWZXJzaW9uPTQuMi4wLjE5MjcsIEN1bHR1cmU9bmV1dHJhbCwgUHVibGljS2V5VG9rZW49MTZmYzEzYTIyNmMwZTk1MV1dAwAAAKABQXBsb3Jpcy5CYXNlLk9iamVjdHMuRGF0YU9iamVjdENvbGxlY3Rpb25gMVtbQXBsb3Jpcy5DaGFydC5DaGFydERhdGFHcm91cCwgQXBsb3Jpcy5DaGFydCwgVmVyc2lvbj00LjIuMC4xOTI3LCBDdWx0dXJlPW5ldXRyYWwsIFB1YmxpY0tleVRva2VuPTE2ZmMxM2EyMjZjMGU5NTFdXQMAAACaAUFwbG9yaXMuQmFzZS5PYmplY3RzLkRhdGFPYmplY3RDb2xsZWN0aW9uYDFbW0FwbG9yaXMuQ2hhcnQuRGVsdGFCYXIsIEFwbG9yaXMuQ2hhcnQsIFZlcnNpb249NC4yLjAuMTkyNywgQ3VsdHVyZT1uZXV0cmFsLCBQdWJsaWNLZXlUb2tlbj0xNmZjMTNhMjI2YzBlOTUxXV0DAAAAnQFBcGxvcmlzLkJhc2UuT2JqZWN0cy5EYXRhT2JqZWN0Q29sbGVjdGlvbmAxW1tBcGxvcmlzLkNoYXJ0LkRlbHRhQnJpZGdlLCBBcGxvcmlzLkNoYXJ0LCBWZXJzaW9uPTQuMi4wLjE5MjcsIEN1bHR1cmU9bmV1dHJhbCwgUHVibGljS2V5VG9rZW49MTZmYzEzYTIyNmMwZTk1MV1dAwAAAJ0BQXBsb3Jpcy5CYXNlLk9iamVjdHMuRGF0YU9iamVjdENvbGxlY3Rpb25gMVtbQXBsb3Jpcy5DaGFydC5Hcm93dGhBcnJvdywgQXBsb3Jpcy5DaGFydCwgVmVyc2lvbj00LjIuMC4xOTI3LCBDdWx0dXJlPW5ldXRyYWwsIFB1YmxpY0tleVRva2VuPTE2ZmMxM2EyMjZjMGU5NTFdXQMAAACkAUFwbG9yaXMuQmFzZS5PYmplY3RzLkRhdGFPYmplY3RDb2xsZWN0aW9uYDFbW0FwbG9yaXMuQ2hhcnQuV2F0ZXJmYWxsQ29ubmVjdG9yLCBBcGxvcmlzLkNoYXJ0LCBWZXJzaW9uPTQuMi4wLjE5MjcsIEN1bHR1cmU9bmV1dHJhbCwgUHVibGljS2V5VG9rZW49MTZmYzEzYTIyNmMwZTk1MV1dAwAAAKIBQXBsb3Jpcy5CYXNlLk9iamVjdHMuRGF0YU9iamVjdENvbGxlY3Rpb25gMVtbQXBsb3Jpcy5DaGFydC5FbGVtZW50Q29ubmVjdG9yLCBBcGxvcmlzLkNoYXJ0LCBWZXJzaW9uPTQuMi4wLjE5MjcsIEN1bHR1cmU9bmV1dHJhbCwgUHVibGljS2V5VG9rZW49MTZmYzEzYTIyNmMwZTk1MV1dAwAAAAEVQXBsb3Jpcy5DaGFydC5CYXJUeXBlAgAAAAEYQXBsb3Jpcy5DaGFydC5TZXJpZXNUeXBlAgAAACJBcGxvcmlzLkNoYXJ0LkNvbHVtbk9yaWVudGVkTGVnZW5kAgAAAAEBGVN5c3RlbS5EcmF3aW5nLlJlY3RhbmdsZUYEAAAAGVN5c3RlbS5EcmF3aW5nLlJlY3RhbmdsZUYEAAAACAEsQXBsb3Jpcy5DaGFydC5BeGlzQnJlYWsrQXhpc0JyZWFrRGlzcGxheU1vZGUCAAAAAQEBFUFwbG9yaXMuQmFzZS5VSS5MYWJlbAMAAAAeQXBsb3Jpcy5CYXNlLlVJLlZpc3VhbFBvbHlsaW5lAwAAABpBcGxvcmlzLkNoYXJ0Lk51bWJlckZvcm1hdAIAAAAXU3lzdGVtLkRyYXdpbmcuUG9pbnRGW10EAAAAGUFwbG9yaXMuQmFzZS5BbmNob3JNb2RlW10DAAAACAEaQXBsb3Jpcy5DaGFydC5BeGlzTnVtYmVyW10CAAAAiAFTeXN0ZW0uQ29sbGVjdGlvbnMuT2JqZWN0TW9kZWwuQ29sbGVjdGlvbmAxW1tTeXN0ZW0uSW50MzIsIG1zY29ybGliLCBWZXJzaW9uPTQuMC4wLjAsIEN1bHR1cmU9bmV1dHJhbCwgUHVibGljS2V5VG9rZW49Yjc3YTVjNTYxOTM0ZTA4OV1dCAgwQXBsb3Jpcy5DaGFydC5Db2x1bW5PcmllbnRlZENoYXJ0K0N1c3RvbVN0YWNraW5nAgAAABlBcGxvcmlzLkNoYXJ0Lk9yaWVudGF0aW9uAgAAABpBcGxvcmlzLkJhc2UuVUkuVmlzdWFsUmVjdAMAAAA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I3LCBDdWx0dXJlPW5ldXRyYWwsIFB1YmxpY0tleVRva2VuPTE2ZmMxM2EyMjZjMGU5NTFdXR9BcGxvcmlzLkJhc2UuT2JqZWN0cy5EYXRhT2JqZWN0AwAAACFBcGxvcmlzLkNoYXJ0LkNvbHVtbk9yaWVudGVkQ2hhcnQCAAAAlQFTeXN0ZW0uQ29sbGVjdGlvbnMuR2VuZXJpYy5MaXN0YDFbW0FwbG9yaXMuQmFzZS5VSS5WaXN1YWxPYmplY3QsIEFwbG9yaXMuQmFzZSwgVmVyc2lvbj00LjIuMC4xOTI3LCBDdWx0dXJlPW5ldXRyYWwsIFB1YmxpY0tleVRva2VuPTE2ZmMxM2EyMjZjMGU5NTFdXQIAAAAF+////yVBcGxvcmlzLkNoYXJ0LkNvbHVtbk9yaWVudGVkQ2hhcnRUeXBlAQAAAAd2YWx1ZV9fAAgCAAAAAAAAAAkGAAAACQcAAAAKAAoJCAAAAAkJAAAACQoAAAAJCwAAAAkMAAAACQ0AAAAJDgAAAAkPAAAACRAAAAAJEQAAAAAF7v///xVBcGxvcmlzLkNoYXJ0LkJhclR5cGUBAAAAB3ZhbHVlX18ACAIAAAAAAAAAAAXt////GEFwbG9yaXMuQ2hhcnQuU2VyaWVzVHlwZQEAAAAHdmFsdWVfXwAIAgAAAAAAAAAKAAEF7P///xlTeXN0ZW0uRHJhd2luZy5SZWN0YW5nbGVGBAAAAAF4AXkFd2lkdGgGaGVpZ2h0AAAAAAsLCwsEAAAA//9/////f////3////9//wHr////7P//////f////3////9/////f/8AAAAAAAXq////LEFwbG9yaXMuQ2hhcnQuQXhpc0JyZWFrK0F4aXNCcmVha0Rpc3BsYXlNb2RlAQAAAAd2YWx1ZV9fAAgCAAAAAQAAAAEBAQoKCRcAAAAKCgAAAAAACRgAAAAKCRkAAAAAAAAACgXm////GUFwbG9yaXMuQ2hhcnQuT3JpZW50YXRpb24BAAAAB3ZhbHVlX18ACAIAAAABAAAACRsAAAAB5P///+z///+eGotCNKAHQqxH4UM7RJ5DAATj////C1N5c3RlbS5HdWlkCwAAAAJfYQJfYgJfYwJfZAJfZQJfZgJfZwJfaAJfaQJfagJfawAAAAAAAAAAAAAACAcHAgICAgICAgIAAAAAAAAAAAAAAAAAAAAAAAoKCR4AAAAACgoKAQAAAAAAAAD/////AAAB4f///+z///86LwpDVjJbQlRuuEP+VmtD6P29QFoF/kIqvwREDAi/QwXg////FVN5c3RlbS5EcmF3aW5nLlBvaW50RgIAAAABeAF5AAALCwQAAAAkqptDw8K3QwYhAAAAEEptY0VQY2FSOGZSeWpqeFgAAAAACgoJIgAAAAkjAAAAAAoJJA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NC4wLjAuMCwgQ3VsdHVyZT1uZXV0cmFsLCBQdWJsaWNLZXlUb2tlbj1iNzdhNWM1NjE5MzRlMDg5XV0hQXBsb3Jpcy5DaGFydC5Db2x1bW5PcmllbnRlZENoYXJ0AgAAAJsBQXBsb3Jpcy5CYXNlLk9iamVjdHMuRGF0YU9iamVjdENvbGxlY3Rpb25gMVtbQXBsb3Jpcy5DaGFydC5WYWx1ZUxpbmUsIEFwbG9yaXMuQ2hhcnQsIFZlcnNpb249NC4yLjAuMTkyNywgQ3VsdHVyZT1uZXV0cmFsLCBQdWJsaWNLZXlUb2tlbj0xNmZjMTNhMjI2YzBlOTUxXV0DAAAAmwFBcGxvcmlzLkJhc2UuT2JqZWN0cy5EYXRhT2JqZWN0Q29sbGVjdGlvbmAxW1tBcGxvcmlzLkNoYXJ0LkF4aXNCcmVhaywgQXBsb3Jpcy5DaGFydCwgVmVyc2lvbj00LjIuMC4xOTI3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I3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jcsIEN1bHR1cmU9bmV1dHJhbCwgUHVibGljS2V5VG9rZW49MTZmYzEzYTIyNmMwZTk1MV1dIUFwbG9yaXMuQ2hhcnQuQ29sdW1uT3JpZW50ZWRDaGFydAIAAAAhQXBsb3Jpcy5DaGFydC5Db2x1bW5PcmllbnRlZENoYXJ0AgAAAJUBU3lzdGVtLkNvbGxlY3Rpb25zLkdlbmVyaWMuTGlzdGAxW1tBcGxvcmlzLkJhc2UuVUkuVmlzdWFsT2JqZWN0LCBBcGxvcmlzLkJhc2UsIFZlcnNpb249NC4yLjAuMTkyNywgQ3VsdHVyZT1uZXV0cmFsLCBQdWJsaWNLZXlUb2tlbj0xNmZjMTNhMjI2YzBlOTUxXV0CAAAACQEAAAAF2P///xZBcGxvcmlzLkNoYXJ0LkF4aXNUeXBlAQAAAAd2YWx1ZV9fAAgCAAAAAQAAAJqZGT8AAAAKCQEAAAAJKQAAAAkqAAAAAQAAAAAAAAAAAQAAAAAAAPA/AZqZmZmZmbk/AAAAIEEAAQkrAAAACgksAAAACS0AAAAJLgAAAAHR////4P///54ai0JCOK9DAdD////g////KgcCREI4r0MJMQAAAAkyAAAACTMAAAAJNAAAAAAAAAAAAAAAAAAAAAk1AAAAAAAAAAAACTYAAAAJAQAAAAkBAAAACTgAAAABBwAAAAYAAAAJAQAAAAHG////2P///wAAAADNzEw/AAAACAEACQEAAAAJOwAAAAk8AAAAAQAAAAAAAAAAAQAAAAAA4JVAAQAAAAAAAGlAAAAAIEEAAQk9AAAACgk+AAAACT8AAAAJQAAAAAG/////4P///54ai0JCOK9DAb7////g////nhqLQjSgB0IJQwAAAAlEAAAACUUAAAAJRgAAAAAAAAAAAAAAAAAAAAlHAAAAAAAAAAAACUgAAAAJAQAAAAkBAAAACUoAAAAECAAAAKgBU3lzdGVtLkNvbGxlY3Rpb25zLkdlbmVyaWMuTGlzdGAxW1tBcGxvcmlzLkNoYXJ0LkNvbHVtbk9yaWVudGVkQ2hhcnQrVW51c2VkU2VyaWVzLCBBcGxvcmlzLkNoYXJ0LCBWZXJzaW9uPTQuMi4wLjE5MjcsIEN1bHR1cmU9bmV1dHJhbCwgUHVibGljS2V5VG9rZW49MTZmYzEzYTIyNmMwZTk1MV1dAwAAAAZfaXRlbXMFX3NpemUIX3ZlcnNpb24EAAAwQXBsb3Jpcy5DaGFydC5Db2x1bW5PcmllbnRlZENoYXJ0K1VudXNlZFNlcmllc1tdAgAAAAgICUsAAAAAAAAAAAAAAAUJAAAAoQFBcGxvcmlzLkJhc2UuT2JqZWN0cy5EYXRhT2JqZWN0Q29sbGVjdGlvbmAxW1tBcGxvcmlzLkNoYXJ0LkNoYXJ0RGF0YVNlcmllcywgQXBsb3Jpcy5DaGFydCwgVmVyc2lvbj00LjIuMC4xOTI3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i4wLjE5MjcsIEN1bHR1cmU9bmV1dHJhbCwgUHVibGljS2V5VG9rZW49MTZmYzEzYTIyNmMwZTk1MV1dAwAAAJcBU3lzdGVtLkNvbGxlY3Rpb25zLkdlbmVyaWMuTGlzdGAxW1tBcGxvcmlzLkNoYXJ0LkNoYXJ0RGF0YVNlcmllcy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UwAAAAJTQAAAAkBAAAACQEAAAAJTwAAAAUKAAAApgFBcGxvcmlzLkJhc2UuT2JqZWN0cy5EYXRhT2JqZWN0Q29sbGVjdGlvbmAxW1tBcGxvcmlzLkNoYXJ0LkFubm90YXRpb25EYXRhU2VyaWVzLCBBcGxvcmlzLkNoYXJ0LCBWZXJzaW9uPTQuMi4wLjE5Mjc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IuMC4xOTI3LCBDdWx0dXJlPW5ldXRyYWwsIFB1YmxpY0tleVRva2VuPTE2ZmMxM2EyMjZjMGU5NTFdXQMAAACcAVN5c3RlbS5Db2xsZWN0aW9ucy5HZW5lcmljLkxpc3RgMVtbQXBsb3Jpcy5DaGFydC5Bbm5vdGF0aW9uRGF0YVNlcmllcy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VAAAAAJUQAAAAkBAAAACQEAAAAJUwAAAAULAAAAoQFBcGxvcmlzLkJhc2UuT2JqZWN0cy5EYXRhT2JqZWN0Q29sbGVjdGlvbmAxW1tBcGxvcmlzLkNoYXJ0LkFubm90YXRpb25Hcm91cCwgQXBsb3Jpcy5DaGFydCwgVmVyc2lvbj00LjIuMC4xOTI3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jcsIEN1bHR1cmU9bmV1dHJhbCwgUHVibGljS2V5VG9rZW49MTZmYzEzYTIyNmMwZTk1MV1dAwAAAJcBU3lzdGVtLkNvbGxlY3Rpb25zLkdlbmVyaWMuTGlzdGAxW1tBcGxvcmlzLkNoYXJ0LkFubm90YXRpb25Hcm91cC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VQAAAAJVQAAAAkBAAAACQEAAAAJVwAAAAUMAAAAoAFBcGxvcmlzLkJhc2UuT2JqZWN0cy5EYXRhT2JqZWN0Q29sbGVjdGlvbmAxW1tBcGxvcmlzLkNoYXJ0LkNoYXJ0RGF0YUdyb3VwLCBBcGxvcmlzLkNoYXJ0LCBWZXJzaW9uPTQuMi4wLjE5Mjc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IuMC4xOTI3LCBDdWx0dXJlPW5ldXRyYWwsIFB1YmxpY0tleVRva2VuPTE2ZmMxM2EyMjZjMGU5NTFdXQMAAACWAVN5c3RlbS5Db2xsZWN0aW9ucy5HZW5lcmljLkxpc3RgMVtbQXBsb3Jpcy5DaGFydC5DaGFydERhdGFHcm91cC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VgAAAAJWQAAAAkBAAAACQEAAAAJWwAAAAUNAAAAmgFBcGxvcmlzLkJhc2UuT2JqZWN0cy5EYXRhT2JqZWN0Q29sbGVjdGlvbmAxW1tBcGxvcmlzLkNoYXJ0LkRlbHRhQmFyLCBBcGxvcmlzLkNoYXJ0LCBWZXJzaW9uPTQuMi4wLjE5Mjc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IuMC4xOTI3LCBDdWx0dXJlPW5ldXRyYWwsIFB1YmxpY0tleVRva2VuPTE2ZmMxM2EyMjZjMGU5NTFdXQMAAACQAVN5c3RlbS5Db2xsZWN0aW9ucy5HZW5lcmljLkxpc3RgMVtbQXBsb3Jpcy5DaGFydC5EZWx0YUJhci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VwAAAAJXQAAAAkBAAAACQEAAAAJXwAAAAUOAAAAnQFBcGxvcmlzLkJhc2UuT2JqZWN0cy5EYXRhT2JqZWN0Q29sbGVjdGlvbmAxW1tBcGxvcmlzLkNoYXJ0LkRlbHRhQnJpZGdlLCBBcGxvcmlzLkNoYXJ0LCBWZXJzaW9uPTQuMi4wLjE5Mjc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I3LCBDdWx0dXJlPW5ldXRyYWwsIFB1YmxpY0tleVRva2VuPTE2ZmMxM2EyMjZjMGU5NTFdXQMAAACTAVN5c3RlbS5Db2xsZWN0aW9ucy5HZW5lcmljLkxpc3RgMVtbQXBsb3Jpcy5DaGFydC5EZWx0YUJyaWRnZS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WAAAAAJYQAAAAkBAAAACQEAAAAJYwAAAAUPAAAAnQFBcGxvcmlzLkJhc2UuT2JqZWN0cy5EYXRhT2JqZWN0Q29sbGVjdGlvbmAxW1tBcGxvcmlzLkNoYXJ0Lkdyb3d0aEFycm93LCBBcGxvcmlzLkNoYXJ0LCBWZXJzaW9uPTQuMi4wLjE5Mjc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IuMC4xOTI3LCBDdWx0dXJlPW5ldXRyYWwsIFB1YmxpY0tleVRva2VuPTE2ZmMxM2EyMjZjMGU5NTFdXQMAAACTAVN5c3RlbS5Db2xsZWN0aW9ucy5HZW5lcmljLkxpc3RgMVtbQXBsb3Jpcy5DaGFydC5Hcm93dGhBcnJvdy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WQAAAAJZQAAAAkBAAAACQEAAAAJZwAAAAUQAAAApAFBcGxvcmlzLkJhc2UuT2JqZWN0cy5EYXRhT2JqZWN0Q29sbGVjdGlvbmAxW1tBcGxvcmlzLkNoYXJ0LldhdGVyZmFsbENvbm5lY3RvciwgQXBsb3Jpcy5DaGFydCwgVmVyc2lvbj00LjIuMC4xOTI3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i4wLjE5MjcsIEN1bHR1cmU9bmV1dHJhbCwgUHVibGljS2V5VG9rZW49MTZmYzEzYTIyNmMwZTk1MV1dAwAAAJoBU3lzdGVtLkNvbGxlY3Rpb25zLkdlbmVyaWMuTGlzdGAxW1tBcGxvcmlzLkNoYXJ0LldhdGVyZmFsbENvbm5lY3Rvci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WgAAAAJaQAAAAkBAAAACQEAAAAJawAAAAURAAAAogFBcGxvcmlzLkJhc2UuT2JqZWN0cy5EYXRhT2JqZWN0Q29sbGVjdGlvbmAxW1tBcGxvcmlzLkNoYXJ0LkVsZW1lbnRDb25uZWN0b3IsIEFwbG9yaXMuQ2hhcnQsIFZlcnNpb249NC4yLjAuMTkyNy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yNywgQ3VsdHVyZT1uZXV0cmFsLCBQdWJsaWNLZXlUb2tlbj0xNmZjMTNhMjI2YzBlOTUxXV0DAAAAmAFTeXN0ZW0uQ29sbGVjdGlvbnMuR2VuZXJpYy5MaXN0YDFbW0FwbG9yaXMuQ2hhcnQuRWxlbWVudENvbm5lY3Rvci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MAAAAKCWwAAAAJbQAAAAkBAAAACQEAAAAJbwAAAAUX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hQXBsb3Jpcy5DaGFydC5Db2x1bW5PcmllbnRlZENoYXJ0AgAAACFBcGxvcmlzLkNoYXJ0LkNvbHVtbk9yaWVudGVkQ2hhcnQCAAAACAEICAEICAgCAAAACQEAAAAJAQAAAAAAAAAABnEAAAABLgMAAAAGcgAAAAEsBnMAAAABLQZ0AAAAASsBAAAAAAoKBnUAAAAKTU0vZGQveXl5eQAAAAAKAAAAAAAAAAAHGAAAAAABAAAAAQAAAAQYQXBsb3Jpcy5DaGFydC5BeGlzTnVtYmVyAgAAAAWK////GEFwbG9yaXMuQ2hhcnQuQXhpc051bWJlcgEAAAAHdmFsdWVfXwAIAgAAAAAAAAAPGQAAAAkAAAAIAQAAAAIAAAADAAAABAAAAAUAAAAGAAAABwAAAAgAAAAJAAAABRsAAAAaQXBsb3Jpcy5CYXNlLlVJLlZpc3VhbFJlY3QVAAAAC21TdGFydFBvaW50CW1FbmRQb2ludAttTGluZUZvcm1hdAttRmlsbEZvcm1hdAltUm90YXRpb24SbVJlY3RhbmdsZVByb3ZpZGVyDG1QYWludE9mZnNldBJtUGFpbnRTaXplT3ZlcnJpZGUObUV4dHJhUm90YXRpb24ObUxhc3RQYWludFJlY3QJ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C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Yn////g////nhqLQjSgB0IBiP///+D///8qBwJEQjivQwl5AAAACXoAAAAAAAAACgWF////FFN5c3RlbS5EcmF3aW5nLlNpemVGAgAAAAV3aWR0aAZoZWlnaHQAAAsLBAAAAAAAAAAAAAAAAYT///+F////AAAAAAAAAAAAAAAAAYP////s////AAAAAAAAAAAAAAAAAAAAAAl+AAAAFAAAAP////8BAQoJfgAAAAEACgEPHgAAAKU7AAACUEsDBBQABgAIAAAAIQCeLGxvawEAAB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lMFOwzAMhu9IvEOVK2qzcUAIrdthwBEmMR4gJO4aLU2iOBvb2+NmY0KorELrpVEb+/+/uHYms11jsi0E1M6WbFyMWAZWOqXtqmTvy+f8nmUYhVXCOAsl2wOy2fT6arLce8CMsi2WrI7RP3COsoZGYOE8WNqpXGhEpNew4l7ItVgBvx2N7rh0NoKNeWw12HTyCJXYmJg97ejzgSSAQZbND4GtV8mE90ZLEYmUb6365ZIfHQrKTDFYa483hMF4p0O787fBMe+VShO0gmwhQnwRDWHwneGfLqw/nFsX50U6KF1VaQnKyU1DFSjQBxAKa4DYmCKtRSO0/eY+45+CkadlPDBIe74k3MMR6X8DT8/LEZJMjyHGvQEcuuxJtM+5FgHUWww0GYMD/NTu4ZDCyHlNLTJwEU665/ypbxfBeaQJDvB/gO8RbbNzT0IQoobTkHY1+8mRpv/iE0N7vyhQHd483WfTLwAAAP//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IfI99XdkBBCS3dBSLshVH6ASdwPtY2jJBvdvyccEFQagwNHf71+/Mrb3TyN6sgh9uI0rIsSFDsjtnethpf6cXUHKiZylkZxrOHEEXbV9dX2mUdKeSh2vY8qq7iooUvJ3yNG0/FEsRDPLlcaCROlHIYWPZmBWsZNWd5i+K4B1UJT7a2GsLc3oOqTz5t/15am6Q0/iDlM7NKZFchzYmfZrnzIbCH1+RpVU2g5abBinnI6InlfZGzA80SbvxP9fC1OnMhSIjQS+DLPR8cloPV/WrQ08cudecQ3CcOryPDJgosfqN4BAAD//wMAUEsDBBQABgAIAAAAIQBF5H+3JwMAAGcHAAAPAAAAeGwvd29ya2Jvb2sueG1spFVdb5swFH2ftP+AeKdgAoSgkikhRYvUTVWbti+RJgdMsAKY2aZJVPW/75qEpGmmqWtRYvAHx+fce665/LYpC+2JcEFZFerowtI1UiUspdUy1O9nseHrmpC4SnHBKhLqWyL0b8OvXy7XjK8WjK00AKhEqOdS1oFpiiQnJRYXrCYVzGSMl1hCly9NUXOCU5ETIsvCtC3LM0tMK32HEPD3YLAsowmZsKQpSSV3IJwUWAJ9kdNadGhl8h64EvNVUxsJK2uAWNCCym0LqmtlEkyXFeN4UYDsDXK1DYefB39kQWN3O8HU2VYlTTgTLJMXAG3uSJ/pR5aJ0EkINucxeB+SY3LyRFUOD6y490FW3gHLO4Ih69NoCKzVeiWA4H0QzT1ws/XhZUYL8rCzrobr+icuVaYKXSuwkFcplSQN9T502ZocB0AVb+pxQwuYtZHdQ7o5PNj5hmspyXBTyBkYuYOHyrAd2/bUSjDGqJCEV1iSiFUSfLjX9VnPtdhRzsDh2i353VBOoLDAX6AVWpwEeCFusMy1hhehHgXzewHy56uqKfB8VNcTLPH8miW4mM9IWc9fWRSf18N/mBQnSrkJ0nf0ds9vwwAsedAZ8UZyDZ6nk2tIxh1+gtSAAdJ95U4h9v6v59juo8jpuYY19h3DGUWRMXJ92+jFdmS78VXsosELqOBekDDcyHyfboUZ6o5y1NupH3jTzSAraGh63P/Z2l+Gur9purkXpVQdbA+UrMXRGKqriZyt79QBNoNMtII2j7RK2Rqc5PtAZ9t1e70BdNft5CNNZQ4W6jvWYew7ocscNAzQwFUqbEU11E8oTnYUY7gM1ZxQNF9xbM9U4Nretaqtg1FdME6FsgSc4IqzijkC8wdqIz5NW9+b3btgmgTMr27twgGy7IGKhaqyW5Iw+EhsYQFkge27KgCwgGzktZDtHYxJQcTY9cdWb2AbToxiw0EDyxiPPcdwJ3HP7aNJdOXGKq3qyxFs1JbZBw8E32zfJlg2UCyqTtp+oNp4P3oYzHYD+wCd2D+4nSgp+7f/tTB+aEvhr/uYEAoojS4gZveNHP4BAAD//wMAUEsDBBQABgAIAAAAIQCSB5TsBAEAAD8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tqxDAMRfeF/oPRvnEyfVCGcWbRUphtm36AcJQ4TGIHW33k72tSOsnAkG6yMUjC9x6Ju9t/d634JB8aZxVkSQqCrHZlY2sF78XLzSOIwGhLbJ0lBQMF2OfXV7tXapHjp2CaPoioYoMCw9xvpQzaUIchcT3ZOKmc75Bj6WvZoz5iTXKTpg/SzzUgP9MUh1KBP5S3IIqhj87/a7uqajQ9O/3RkeULFjLw0MYFRIG+JlbwWyeREeRl+82a9hzPQpP7WMrxzZYYsjUZvpw/BkPEE8epFeQ4WYS5XxNGY6ufDDZ2gjm1li5yt2ooDHoq39jHzM+zMW//wciz2Oc/AAAA//8DAFBLAwQUAAYACAAAACEAmgvb7HMDAACQCAAAGAAAAHhsL3dvcmtzaGVldHMvc2hlZXQxLnhtbJxWXW+rOBB9X2n/A/LjSgVsPh0FqrZp2kh7pav79e4Qk6ACZo2Ttrva/37HJhCgvVJ1oyY1Mz5nZo7HkyyvX6rSOnHZFqJOELZdZPE6E7ui3ifo+7f1VYysVrF6x0pR8wS98hZdp3/+sXwW8qk9cK4sYKjbBB2UahaO02YHXrHWFg2vwZMLWTEFj3LvtI3kbGdAVekQ1w2dihU16hgW8iMcIs+LjK9Edqx4rToSyUumIP/2UDRtz1ZlH6GrmHw6NleZqBqg2BZloV4NKbKqbLHZ10KybQl1v2CfZdaLhD8Cb68PY+xvIlVFJkUrcmUDs9Pl/LZ86lCHZQPT2/o/RIN9R/JToQ/wQkV+LyUcDFzkQub9Jlk4kGm55OJY7BL0n3t+XcF/rD/cy0fv+x+ly10BJ6yrsiTPE3SDFxsfOenS9M+Pgj+3o7Wl2PYrL3mmOMTAyNLtuRXiSW/cgMkFxobV3Hr52sAhmz2vl6USzd88V3e8LBN0C7WzTBUn/hkQCdoKpUT1pdgflLkMCmy5FP/y2uRjwuo8NX+CgOq8teM4c0JO7T+mklv8HqwLopPog3fAG0jmDISlrn8Wb5LdOOQKVD8jYQlIZ5BuvO5lXJub+llaO56zY6m+iOdHrmsGrYJB+BVTLF1K8WxBu+qaoGi4/HhBkWW2+rYfICs7tiDZgAfxMw240QiNg2yMAbToDOnylBIXx0vnBMllZ/fdzE2n7tXUTdyp+37mxlP3euYmU/fDzO1N3Y8ztz91bzDUrEsiweBwQLZBO32sF+16fbTV6Aqqt4ZhVpPuTdhBjA8HMLDD2I9jL6JREEYz9Xq2dJmnt+QvbEMNuU4L09D2Yup6fky9ENAzaVZj5N0YSYLA9twg8gMvxFEcx7O673VmeboyGDhNE84LiO0RTEkcUErCOJgluh6Hu59A/Ti0ieuTEPthSKkbzg6pC7c2GPCZcGGIbeJFEQ0CGmA3IrO2eRyFs7TQByb5DnVz5pEsNtpfmJnxMCGOKbVJ7PkufHdRz4diZof+C+KODHoelCfEs6EpoKLIIxFk93576Lv7tj20dXJ9RoZJd/nvwrV1Ap8b7kaGjq+bGd2tb9ief2JyX9StVcKgAoXsCGTrhoRZw/AzVhgB3Vzqnw7wzc9hArg2pJwLofoHPZeG3xLpTwAAAP//AwBQSwMEFAAGAAgAAAAhAL2gv71LBwAAHSIAABMAAAB4bC90aGVtZS90aGVtZTEueG1s7FpLbxs3EL4X6H8g9p5YsiXHMiIHlizFSfyCraTIkVpRu7S5ywVJ2dGtSI4FChRNi14K9NZD0TZAAvSS/hq3KdoUyF/okFxJS4uKrcZFX3aAeB/fDOfN2aFv3nqUMHRMhKQ8rQfl66UAkTTkPZpG9eB+p31tJUBS4bSHGU9JPRgSGdxae/+9m3hVxSQhCOhTuYrrQaxUtrqwIEN4jOV1npEU3vW5SLCCWxEt9AQ+Ab4JW1gslZYXEkzTAKU4Aba7/T4NCepolsHaiHmLwW2qpH4QMnGgWROHwmB7R2WNkEPZZAIdY1YPYJ0eP+mQRypADEsFL+pByfwEC2s3F/BqTsTUDNoCXdv85HQ5Qe9o0awpou540XK7UruxMeZvAExN41qtVrNVHvMzAByGoKmVpciz0l4pN0Y8CyB7Oc27WaqWKi6+wH9pSuZao9Go1nJZLFMDspeVKfxKabmyvujgDcjiq1P4SmO92Vx28AZk8ctT+PaN2nLFxRtQzGh6NIXWDm23c+5jSJ+zTS98BeArpRw+QUE0jKNLL9HnqZoVawk+5KINAA1kWNEUqWFG+jiEKG7ipCsoDlCGUy7hQWmx1C4twf/6X8VcVfTyeJXgAp19FMqpR1oSJENBM1UP7gLXoAB58/LbNy+fozcvn50+fnH6+IfTJ09OH39veTmEmziNioSvv/7k9y8/RL89/+r108/8eFnE//zdRz/9+KkfCPk10f/V589+efHs1Rcf//rNUw98XeBuEd6hCZFoh5ygfZ6AbsYwruSkK+aj6MSYOhQ4Bt4e1i0VO8CdIWY+XIO4xnsgoLT4gLcHh46sB7EYKOpZ+V6cOMBtzlmDC68B7um1ChbuDNLIv7gYFHH7GB/71m7i1HFta5BBTYWQnbZ9MyaOmHsMpwpHJCUK6Xf8iBAP2UNKHbtu01BwyfsKPaSoganXJB3adQJpQrRJE/DL0CcguNqxzfYD1ODMp/UGOXaRkBCYeYTvEOaY8TYeKJz4WHZwwooG38Iq9gl5MBRhEdeSCjwdEcZRq0ek9NHsCtC34PR7GKqZ1+3bbJi4SKHokY/nFua8iNzgR80YJ5lXZprGRewdeQQhitEeVz74NnczRN+DH3A6090PKHHcfX4huE8jR6RJgOg3A+Hx5W3C3Xwcsj4mviqzLhKnsK5DDfdFR2MQOaG9RQjDJ7hHCLp/xyNBg2eOzSdC342hqmwSX2DdxW6s6vuUSOiNdDMznaZbVDohe0AiPkOe7eGZwjPEaYLFLM474HUndGFv85bSXRYeFYE7FHo+iBevUXYl8CgEd2sW170YO7uWvpf+eB0Kx38XyTHIy8N58xJoyNw0UNgvbJsOZs4Ck4DpYIq2fOUWSBz3T0j0vmrIBl66vpu0EzdAN+Q0OQlN39bxMAoOPNPxVK86Htuyne14ZlWWzTN9zizcv7C72cCDdI/AhjJduq6am6vmJvjPNzezcvmqpblqaa5aGt9H2F/S0ky6GGhwJhMeM+9JZo57+pSxAzVkZEuaiY+ED5teGx6aUZSZR47Hf1kMl1ofWMDBRQIbGiS4+oCq+CDGGQyHymZ4GcmcdSRRxiXMjMxjM0YlZ3ibwSiFkZCZcVb19MvaT2K1zXv28VJxyjlmY6SKzCR1tNCSZnDRxZZuvNtiZSvVTLO5qpWNaKZjcFQbq6xNPLL+WDV4OLYmfDEj+M4GKy/DsFnLDnM0aK972u7WRyO36KUv1UUyhm/C3Eda72kflY2TRrEypYjWwwaDnlie46PCajXN9h1Wu4iTistVZiw38t67eGk0pp14SeftmXRkaTE5WYpO6kGtulgNUIizetCHAS1cJhl4XervHcwiOOUIlbBhf24ym3CdeLPmD8syzNyt3acUdupAJqTawDK2oWFe5SHAUjNONvIvVsGsl6WApxpdTIqlFQiGv00KsKPrWtLvk1AVnV14YubpBpCXUj5QRBzEvRPUZQOxj8H9OlRBnx6VMEk3FUHfwKGQtrZ55RbnPOmKRzEGZ59jlsU4L7c6RUeZbOGmII1lMHdWWiMe6OaV3Sg3vyom5S9JlWIY/89U0fsJjLaXetoDIZxJCox0ptQDLlTMoQplMQ3bAg5kTO2AaIGDRXgNQQUno+a3IMf6t805y8OkNUwo1T6NkKCwH6lYELIHZclE3znMyvneZVmynJHtMCbiysyK3SXHhHV0DVzWe3uAYgh1U03yMmBwZ+PPvc8zqBvpJuef2vnYZJ63PZjsqpb+gr1IpVD0C1tBzbv3mZ5qXA7esrHPudXaijWl8WL1wlttBgcUcC6pICZCKkIYNJrWF7zc4ftQWxGcmtv2CkFUX7ONB9IF0pbHLjRO9qENJs3Kdl55d3vpbRScread7nhdyNI/0+nOaexxc+Yu5+Ti27vP+YydW9ixdbHT9ZgakvZsiur2aPQhYxxj/j6j+CcUvHsIjt6Aw+oBU9IeQz+C4yj4yrDH3ZD81rmGdO0PAAAA//8DAFBLAwQUAAYACAAAACEA9EkN6iwaAACC+AAADQAAAHhsL3N0eWxlcy54bWzsXVtvI8l1fg+Q/9DgJoYdLIfs5n1G0q5utGXszM6OtJ5c1iBaZFNqTJNNdzc10gYGNl4gWQR5iIMgiIO8BDAcvwd5iJO8ZJE/sgP7JfZ/yKnq7qpDiSx+ugzFmWntYkRSza9OnzrnO6dOVVdtfHA+CqwzL4r9cLxZsh9US5Y37ocDf3yyWfr0qFtul6w4cccDNwjH3mbpwotLH2z9/u9txMlF4B2eel5iEcQ43iydJsnkYaUS90+9kRs/CCfemP4yDKORm9Db6KQSTyLPHcTiS6Og4lSrzcrI9celFOHhqI+AjNzoxXRS7oejiZv4x37gJxcSq2SN+g8PTsZh5B4HJOq5XXf71rndjBzrPKL/O3lD8i9X2hr5/SiMw2HygLAr4XDo972rIncqnYrb10iEfjMku1GpOjP3fx7dEKleibwzX3Shkivq3BCrqbA6pa2N8XTUHSWx1Q+n42SzpD+y0r8cDMhomvWSlXbzbjggxfe+/UfWe++/9161951H4vVn35bvPkvffetH0zB5VE5/ySs+7H2nVMnbmgFuLAB+UL2ETR/Mg//ggyUNNC81YGWSiwasRz16+1lZCq8/mJGfGhCXfdizFtxBa7aB6oPqHy64khyNKzFrdcHFZMozGi8zucuPPpt926O3l6UuP+qVP+yV58O3iAU4/Gg0+qx8QT8LLrcvd1Pa2h+kv7gxXPoDt4xLf7qGmbQcpP3cZuaLkBuQSYpZa6pkvrG1MQzH2kXsNrmN+GRrI/7cOnMDchBb6K0fBmFkJUSO5CLyk7E78tIrdt3AP458cdnQHfnBRfqxIz6QfJpdN/KJ3cSHlbSFe2pHyrWC+6muRm9tadaqM7Yj3w3mdsWM1o9F3+Q93NSS+uOBd+4RLzalmnQng7g5ZufWUt0MYcruSyKkHa1uy77dbdmyU6+tFS5VCvE6xLqE2azN9sEPvGjgjt3ltqHsglmwUuClboFBZwxupcC318Mlm/k4dl9cUaNUdv/UjWLKKVPidKRrzie7eRpw6jdyGp+Z/HXJQAoXE2/7QaDyJBkD6IOtDcpREy8ad+mNlb0+uphQBBhTOp0yubxOfN1w9UnkXthOA/9CHAb+QESik10ed6TSjrPPNFNJtVWYrCLCIHJdbiY6Od4sdeXP7q6U9g5ALzHqaxRftyQD9Cpakva2klu6dt9LEyDTPg6jAY0Q80FAi8wq/WhrI/CGCTlP5J+cit9JOKF/j8MkoRHU1sbAd0/CsRuIhCX/Bv8mjSxpELlZSk5pEJhnSJetUjSRtQBdL2WRokCXk8i5xND16c3d8N4y99hxxH/SPZbd3dVvLLm/q19YdodXv4He42zPX1fdtzYQGUgrsH2kl6PmkV4NW0d6+WoUd6d2usB7b91G5vBEH30vCA6Fo//xUHGI0xGlhPMhG+3LMec4ERUF8ZKiT/YyZYz0DUm76EtiEIh9yW7KukLalhi7zv+a5U4mwUWXhnJSovQdXarf7Uhi1O+3A/9kPPL4F55GYeL1E1ldkwQ8I77dlAWItZBkfXSyLpIwi6y9kca1hopc7G6XXVuonHxP+L24j2vzgfCsa39JFOFMbPBkOjr2oq6sad8ZK2xtUPknJQ5Rik/8vqgaUegRGcJEEYgVhP0XorAgeaRyPrzEhUxhoup4ndsw6F7UdjE1svZvpHtR07x2h63jl26kiOJLNNGQB//M798ai2CR5N228jVXROGEmROuThGFRbzFKn8b/Wl1Bvs2OuHbmCQWUeM2FHYjf3obzchuyiUg6ZAXH0HNVLMWZ5crqWaxgsP6SLJYlSvRiVyqk3bq/eokXdWzBpIwj6ep/De34PI2ZgKMWPGR6uq+xE3nJuUiVn4kofXMAk0eyPr+gvrezBzAtav8QLCiS2T7ekbBUJJbRmiLQdYpVshFo2vARuvCz2sox11GztmJMF7yPg0j/3PyMFH0lrOzcmL8Snl7beJoU67pXQPLrTOVLO6qG6j6XgaetEpWpQLEDZqb6Y2Bm6/NxnKxcDbjypqk1PVqk7c2Wt4Ym6Cm3noNjdmMUm3Rh9lsCtnrm9GaWMox3/l53GczUtewE6wrIQkWza41aEmDnsnjtNanNQFeVLJeRu7kyDunBQVyfdnVOTx2n9dvJSXPd6kRRlSL1EWuNpc9LudXNqd1e/GM80rGjOuSG61RvtiSD5msxTiakfq9juhvNP6c6dLFk/srMHMmPr7IgAeCm+Y8bJFFRszXWmcBqf06Czf4PS1euWHO467e00wcsMSqWrEuTa46xdeUQH20SDIZTF+/YPiSIpYv3/Oyv2IB4g3qG8uLJLdKn97BJO0tHp6sOpOWg69swLXCYclrGPMtHgOtdoC5UuPkMXhFhYhVlYWvRZtvZRVmpU5SlCrkUxHpuu0lSet61ENWWhFc/wpPUayatwr9bot7RbZAT5QKisiL+29Wpf2+GGNV0flOUpP7yt/e5cL5Tbi74KKCiyxwEr4YJl2dOX5rJquL+WPDOoNi/lhuBXjpCb3XF2vvJAUpptPlqqoiK5i/quQtrmcWI5TS8rpnMf0xf7nSDRYSFYOIN3oQUeT1RV6fLvm5wzz3njihWATA19IvXw5aTH/MVD+K6Y9i+kNs/HZbIiwGF7KacuuJnTc1NSlqD0XtofROrqUqag9F7SHbwa0oCxRlgettiVusilzVs6nv2KrIe4tK9/O8arEw/G6GH0Uys27JzP0vsC58q/CtedXy1/JM210vhCie8Lh1Seody5zW6byM4pSKqxtXrKVOip0o5W72M75zzztRFr7zhvhOsTnBVd8p+KTgk4WnaBXMVjDb1Tl7o04KPin4ZB35pMKPS0wPT2TnJtZudGqidT5cenyiqKotODJs0bdZaZR9mz7Vu01SJpN/e942fPRndsiieicPWczf5bsZpzsmCu2QPtipkpfOlFTqs8QZ45ulnlOt1rYPHh+Mh/LUNupzOlcusp55kzBK4lw+sePfefRw6tMzyX9ezX7K9Lsh/qnqf/K//Vie+J4fbZk3Rg09tfanUTjxrMPETWLrsXthkQg0CZAqwqZBANaQnTZ13YYs6oCsKXo6B2uKBBQ/C5qio6ufTo8Dv2/1p8debLnjgXXmey+18ujgAqyhmrEhOir4Ik56uyGdgueeeL3H7kTdC/E11kTd1MROGL5QNumQ1WKYDSNmFLqDvhsn/vjkW+5o8mjXPQ68XHBHNAcZVtPUyO6pOz7xrNgf9z1rEnmBP/LHbnRhWWU6V5z+Imx64PX9WBh4PJ0I67ZehtGLY7plJYywDUiY1hJhJrSfqXXkjSaBm3hWjRzELleV5TlUtMTaaV+rna53bDkOb0j4FXRDHWND4eTCCofWwdF3D54/39vZ2646PfGG3RJMENvmlqbjJLpQHQKzwQ6Aag38OIn846k4b7ZcfuYNvcgjg1GtwYSwa2pt75O9x4fl/qnX14YFM8AeiKxpzIFdf9+E7Z33Ux+KyGIVddVgDuiawLsukSSxqEMmZB160ZnfJ6Kkc0I9QQzWIflj4ImTgfOuqKG0kEWBBdwMt9v7vjtxx9bzMIoTEkmZRA1lBNsYjm4sh+7mGsoZtjFaKZ3viy2XJ5EfUyQOh8lLN/IoGEcvvCR+X+ghGLz0B977otfaZadq1963ap9UO9ank4GgNLtajr1JUq4K65PpUw3lGtsY5ZSAzzwRRK3yfN09Cc8ssYl31jbKPrYx/F2r7YUmg3KWbQybt5KFmQ3KabYxvlL4lK7akzt1S7PpxZnZ9OiY7npLMFxqByjX2cYgerDz+AnF6FNre+RFdOQv2WHD+pNnqhWU9WxjCBVpbw5ZR7nONgbLA+FYlKqVy6oLt/v9aeT2VVirw+xmDJa6pdRxrcNT4cUi/8w41vrIH3uKZ9WNwqRmjKqG5n+QHdN8tWmYxYwhlqLInpu4InejBO+pfxYmvUNvosmoDpORMeDOjVZ7eRopwhaZaLlMTSeCKIWvSR+ow3xkjMnXbX4RJdVhSjJG8duKo1mpjrJSFssWhPeDo52Ps3zUpnxUvOnuqj5Aecgxhu6Do9zSeuRdAxEne9+fjqud3pkaKYmTRqA02zHG5jS9TiOutqUGSkuOMa4eHB0eMV2JN1pXDZSQHGP8XJBENVC+cYwR8RK6tqYGSiqOMcZRr3ppkhpTlLOS0Iq8ExopxA/Og9iiESaNGGvCsaWLN1CGcYxhDmpUuG/aKMorjjHqQY0qMmug7OEY42IWo2L/cyoEWN/1xiKsqxuDCcEYEWUksGSVSdS1LMfKb7UuKwATWadxxfhPtQzThDEYXqNlZrgwbxijYRr/jkRZpZdkNYdtytGCqrLWJkwixniYVlass5iKoZTi5DpswvRhDHdPI5/8LrOM1OFiymCOIyrkqKZgLjGGMlNTun+aKLFkzLsgTMnGvCi2nj9Xt4GyR80YnJ65I9f6ODmlYtNuOKIRrK+H7k2UK2rGoDSviUV5RhNlipoxVCFNsk5CqaNmjF0xjYEptFNyV1VDGXHiLBTXa8bAdXjqeYlKFpqo09eM0epwGp15F4LVRlZMZVVdUhUHmWJSGyPTkRd4/XBEhjWmqplLrpkbrzhrBmvAGIVUeVTOBChw1MFrxmhz9PEulTP6UWh1/YAqsFR+5RXYFuzZxnjz/OBpLwl7MqzEp95A3QTs3sag8qf+JJ0mEbM0aoqkBTu2MWrMgveehGKw+EJV/lqwL5siRvX9au+cKoODnvzl9p5sz75XGoO92BRCljanaUMWLJDSeM0USIh1iYHFMb1pgua0UfOtt6uS2udOKmWweiqmg/o0EdEyWDUNAc9CpKXd+dEtFdXRim2jotZNpKlgGTBKO3UTcTJgVkNvoaQMY6vapNNGTRvGVlTgdFAuALG11LB/gN2oZW6jzAIiqyTX6aC0CyErXeDGYcowUsPTCgZjaOrOCyafM0zmIzD9mGK/gmUegrs1hsz8A82y6hgy8w7Y0hBkJfGdTOfnOqZBqgoeLXgC0pQ/a2SmY3h6FkNmOoajCIKscO9UXs0QcO5URaRVdRmnfadaUKUXpwMvj1gur9ItLCzlKPLHkKMo1drwVGndlLinxtvgxAOHfQiXT5zDxLM8U2lYzNngZAKRmLkanEgsx1Wma8MTy3XTUCjtN2W4qKSt5Wbb4gSJEjqEy3oMTRwgXNZjaDgGcFVVApbVVNdJ+0tN3jstOHUyDzAmF3J31N55ELWjPLDZDmy5pvEwTcR41qh8oYqBbVho00j4excTLwpo7KsNzYbTKNPgUAPr1AGNaxnjzB9zHdBppediKj66uKxo1EEaJsejifeRru7SeO546ge0fk+tkr28ijT9AtMfmtwul4Jq+CpBgkcODdMIMBd2Bhk10IYpU1TIur/RENMwhVqFq5gFjTANUyTIYJWwcMXHRCw5KOs1WFiT8ytcJa54UhsqQzZMgSvD1ZqFKy0mTslQVXYE53ENUzUtQ1Wxu4PSVMNUNMtQVezuoLlsw0R+GaqKWrTqC+yuzHfnU9+TkGKAIgR4wN80jcyfTEfHngpWcEmlacoKU0wmKepcTSN1SUl1qmnDCymaRt7KYFmmJSdBkPJo00hcObBOtXCJjdSVAiuvteElLk0jGWSwXBFoZGga2SsHZoqALcJINCmwHoY1YXmNTJPBMkU4aChrGskmB9aKaKDxoWnkmxRYj2vgAmbmGQv4JoNliqihimiZ5m4zgmiycSPcdS1jAE4lVnRuw+VL4yAkk5ePxuDp0dZy9rVYoIAHOAABt1lS2oY7DuBgNXSyOzCsiYP/9++++eIX33zxH1//4n/+9ut//OaLf/r6l9afVR9Uqz9MZ9s9WqjddyfeuZWIZ1tOrLaXD6868GjbxNVzBFjeMnzrJjJ/6kViV3EWLFFGaJk4V8EyE6iiSUjLRLo5sk5Fq2gu2jKxbo6rw1oVLiCYSDfHZcU6WF4T52a4D9T0p11Fc8fMEueTLj2ZY6V8E6sSgpz/RhKStokcD8Mp2ZpcFq2QUbppmwarh8kFLTNQE7a2XHoFiWvixgyVGzCaNbRN5Jjiymfv5LpCWy43hcQ1UWMOy+StowzRNpGjBuaZGcoSbRPtMWiWm8FSm3hNQWuegBeGt01pqgbm6oAtw0SaDJqpA61atU2sqaA1vcELxtom2tTAPF1Fg2LbxJwMmiWssHWYyFNBa1aG5/8yq5vPnhqYJ62oOjqmpJVBa3XAndgxMrMkUMe2dAYPTzl3ljOzAGbqgBfhdZbTM0HrZBvOxToAP6s6hw0PxzsAP7OKqg0/utAB+JmAmY7lqigkpnQAfhbQjJBQ6u8A/MyA7QbKdB2AnwmYqwPl5w7AzwKaERKaJXYAfnYsxs+wOgB+JmDOz7A6AH4W0EwdMNcB/OxYjJ9RmTPjMPIzAXN+hqEBfhbQjJ/RTtwG+Nnh/IwOIrYBfiZgpg54DfM2wM8O52dYzwA/s/EfSkjbAD8z1rDhYtM2wM/igRgdUzqwzAA/C2htcjUYGuBnxnQ2/FznNsDPBMzzZ9hNAH4W0CxcoUPMbYCfa5yfYWCAnwmY8zOsDoCfBTTjZ9gHAX6ucX5GZc560MjPBMz5GYYG+FlAM35GO3EH4Oca42e4PrsD8DMB8/wZraPtAPxc4/wM6xngZ53IwLnoDsDPzE1smOl2AH4mYE5IsI4BfhbQjJBgaICfmWvbddEGkvPvAPxMwFwdsJsA/CygmTpgqQF+rnN+hoEBfiZgzs+wOgB+FtCMn2EfBPi5zvkZlTlTs5GfCZjzMwwN8LOAZvyMduIuwM91nj+jw7ZdgJ8JmOfPaGq+C/BznfMzrGeAn/XICl7LswvwM7ML2mMHJKRdgJ8JmA/oYR0D/CygmQfCUgP8zGzZrsMmB/AzAXN+ht0E4GcBzfgZlhrg5wbnZxgY4GcC5vwMqwPgZwHNrAP2QYCfG5yfUZkzbRj5mYA5P8PQAD8LaMbPaCfuAfzc4PwMywzwMwFzfoZlBvi5wfkZlhngZ12KhxdE7wH8zBRhwzvP7AH8TMCcn2EdA/wsoJkHotS/B/AzWwJkwzuD0Racix/NyaZpCJjzM6wOgJ8FNONnWB0APzc5P8PAAD8TMOdnWB0APwtoZh2wDwL83OT8jMqciWzkZwLm/AxDA/wsoBk/o524D/Bzk/MzGgf3AX4mYM7PaBfuA/zc5PwM69nEz7Hc/KP3o6lH2yqH48sPgaDz0/smspb7CVnf89wBrTZTi2VgvZjoOjkOemNayH1ZbrRqvG8i7CM/oZU4YuNDvXYIHAPsm9j6KJxYz8KXClTuPoqUOvZNVJ2hsi0kbPhZgX0TUefAut4vjmWDajP7JpZWuNpbbHgDtn0TTTNkHsVhqU08rbEVL9FWsKg+TDTNkHmwRTkvg57P1BpbVzLh1dJdE1EzZB4TUY10TUytsdnMKYxsomqGzEMXjG3iao3NFqCgE8ldE1lrZL1MpIZOgXSNFJ1SEqWmevU0vFNM18TQuczaW+ATILpGcs4k5lOc8E6KXYCeRcrL2QMtZXYRkuYzkfCuiF2EpWenIm3Y7hCm5hOGDTQ16CJMPTtjaKPhu4swNZ/Xg1drdRGmnp3Yw7fPNz34rPyFp6eoj9MWL5Kr526zoJEZe6D2UaWN28UwcQmyZo822oe0P8ZyZBa10LS3WkdwuYejGWm1ASDriNWAddxEcLnEqA9WWwCyjlbwHp9V09Zjub3x0RB+SEsHkJg9mQTvbrKN4PKcAEbeAZCZf6DxpLoL4OpniOS+wtBBLXvLcXu0nF8+GZuu7cePVNo3YiduMDsAgj2ka8B99eVPX335X69+8p+vvvy3V19+1fvkaOejJ/vP9TAL9Raio8WM9Nv//vn//etX9EDVD3vbT6vO48P9ONFNoKRHh3wsa2IOPHyOEp3csRj+d3/577/72d8vuAPYQekp7GVNzLsDlL1pTGWA/+k///bnX8yDRymcZvMWw//mX/7i13/zq19/9VevfvLXV56ciycenYqQPjmn+t1Bh5Z0Noah3V/+7De/+gf9qNz8plDeoEMxdFP6sDs60W1wPlRnuYlz7uj91oY4k25rY+Im4swJ2uk0oNOu5Osj2tRkszQOqQqytXF8shsGdACWO03CzVJ6Uhz7ztZGJcVJD6ajY5Lck5C2d/50slmisVX+di98ORYfbG0E3jCh0yPlTi/0Owkn9O9xmCThiF7Q6WQJHdgR0MvTMPI/D8fEHPSmksLTCyl6Kj/9kb5Kf/WtMzcQ8PS6L6WlbY3FCXXyk8pQXnjldvW9ZVc3xfcri29uVlorFk8dbJaSU58Oa5rbcHpb+q6Ar+QKMN3yzC2mPbLgFmd7NA4Df0CSDrMuVbdNxj1OSFsPWp1Os0V7E9ToRaNRpwfjRefMXk6Gn1/e7tD11ZrT6NRazbZNwWKZAuf2L6AWbQxXFCMsgkycTvQIPDl5oSyd4vjAG7rTIJH1SPnHzZJ+/dgb+NMR8VN2ldwLPbtKv/7IPzlN6NZ4E9mZhAfjM3r2NKSj4j6i08FK1kQcJiLtvh/SWWSbJUlOnatHH9q0nzD9lLv0I//JdkmlZJs3s58ebGUl0iFfnoaBJ6UnibMtY4XC9Z3PXn9K5VcvkmXH7HJpK4suH/p0fhX5+nRE+9tnX0j9R3+DlM/0vLXhnScfxeSE9NuaRj6d77i/0+rs7Xedcru60y7Xa16j3Gns7JUb9d2dvT0ahTvV3R8Ti46Ccfzw3K5vlk6TZPKwUonp0LORGz8Y+bTxsjge6AFtIF0Jh0M67qsS0+bx7oB2SfaSUVChAlKn0qmMaF9pcWanXX8Y0wmKXpT1ftabh/qzzRJ7k/antFQSm8veoTMetht0OlWXIl253nTb5Xaz1ih3G7az16zv7De6DSZ742ay29WKbWvhGw8pstCZg+PceHOT5Z+S1dJbw01U8p6oSFaSu4Zv/T8AAAD//wMAUEsDBBQABgAIAAAAIQA5pqAFngAAALgAAAAUAAAAeGwvc2hhcmVkU3RyaW5ncy54bWw0jUEKwjAQRfeCdwizt9O6EJE0XQheQD1AaMc20ExqZip6e+PC5fufx7PdO87mRVlC4haaqgZD3Kch8NjC/XbZHcGIeh78nJha+JBA57YbK6KmuCwtTKrLCVH6iaKXKi3E5XmkHL0WzCPKkskPMhFpnHFf1weMPjCYPq2spQtm5fBc6fxnZyU4q+5KOZCYxqI6i78NS9l9AQAA//8DAFBLAwQUAAYACAAAACEAESlXvq8AAAAtAQAAEAAAAHhsL2NhbGNDaGFpbi54bWxsz80KwjAMAOC74DuU3LVzBxFZt8N06l0foHRxHfRnNEX07a3g5sFdAvnyQ1JUT2vYAwP13gnYrDNg6JRve9cJuF2b1Q4YRelaabxDAS8kqMrlolDSqFrL3rG0wZEAHeOw55yURitp7Qd0qXL3wcqY0tBxGgLKljRitIbnWbblNi2AslAsCDjkwPp0AzDzifzL9cgjHOf7monTMb/x0zyf5/nyx3x6tHwDAAD//wMAUEsDBBQABgAIAAAAIQDyLSZ3TAEAAGE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8klFLwzAQx98Fv0PJe5umqzpD24HKXtxAcKL4FpLbVmzSkGR2+/am7dZVJj5e7n8/fnckm+1lFXyDsWWtckSiGAWgeC1KtcnR22oeTlFgHVOCVbWCHB3AollxfZVxTXlt4MXUGowrwQaepCzlOkdb5zTF2PItSGYjn1C+ua6NZM6XZoM1419sAziJ41sswTHBHMMtMNQDER2Rgg9IvTNVBxAcQwUSlLOYRASfsw6MtH8OdJ1RUpbuoP1OR90xW/C+OaT3thyCTdNEzaTT8P4EfywXr92qYanaW3FARSY45QaYq02R4XHhD1cx65b+xusSxMOheFY7ESyYtRAsduC2Gb7MeF6n30NBBF6I9vqnzvvk8Wk1R0USk7uQkDCerkhKU0LT5LNV+DXfCvYP8ijyP/E+jJOQdEQyoenNiHgC+D0vPkXxAwAA//8DAFBLAwQUAAYACAAAACEAtT5WBo4BAAAb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4zAQhu8r7X+IfKdOWYRWlWOE+BCHRVupAc7GmTQWjh15hqjl1+8kEW267Glv8/H6ncdjq6td67MeEroYCrFc5CKDYGPlwrYQT+X92U+RIZlQGR8DFGIPKK70929qnWIHiRxgxhYBC9EQdSsp0TbQGlxwO3Cnjqk1xGnayljXzsJttO8tBJLneX4pYUcQKqjOuoOhmBxXPf2vaRXtwIfP5b5jYK3KSMaXrgWdK3lM1HXXeWcN8e31o7MpYqwpu9tZ8ErOm4qpN2Dfk6P94DFP1cYaDzc8UNfGIyh5LKgHMMMy18Yl1KqnVQ+WYsrQffA6z0X2ahAGzEL0JjkTiHEH2ZSMse+Qkn6J6Q0bAEIlWTAVx3CuncfuQi9HAQenwsFgAuHGKWLpyAP+rtcm0T+Il3PikWHinXCuOx+Tw1tD5gvkeG8e99eAXy684VNXRj4Enws8LapNYxJUvPPDgg8F9cC7S34wuWlM2EL1qfnaGJ77efrrenm5yH/k/JKzmpLHX63/AAAA//8DAFBLAQItABQABgAIAAAAIQCeLGxvawEAABAFAAATAAAAAAAAAAAAAAAAAAAAAABbQ29udGVudF9UeXBlc10ueG1sUEsBAi0AFAAGAAgAAAAhALVVMCP0AAAATAIAAAsAAAAAAAAAAAAAAAAApAMAAF9yZWxzLy5yZWxzUEsBAi0AFAAGAAgAAAAhAEXkf7cnAwAAZwcAAA8AAAAAAAAAAAAAAAAAyQYAAHhsL3dvcmtib29rLnhtbFBLAQItABQABgAIAAAAIQCSB5TsBAEAAD8DAAAaAAAAAAAAAAAAAAAAAB0KAAB4bC9fcmVscy93b3JrYm9vay54bWwucmVsc1BLAQItABQABgAIAAAAIQCaC9vscwMAAJAIAAAYAAAAAAAAAAAAAAAAAGEMAAB4bC93b3Jrc2hlZXRzL3NoZWV0MS54bWxQSwECLQAUAAYACAAAACEAvaC/vUsHAAAdIgAAEwAAAAAAAAAAAAAAAAAKEAAAeGwvdGhlbWUvdGhlbWUxLnhtbFBLAQItABQABgAIAAAAIQD0SQ3qLBoAAIL4AAANAAAAAAAAAAAAAAAAAIYXAAB4bC9zdHlsZXMueG1sUEsBAi0AFAAGAAgAAAAhADmmoAWeAAAAuAAAABQAAAAAAAAAAAAAAAAA3TEAAHhsL3NoYXJlZFN0cmluZ3MueG1sUEsBAi0AFAAGAAgAAAAhABEpV76vAAAALQEAABAAAAAAAAAAAAAAAAAArTIAAHhsL2NhbGNDaGFpbi54bWxQSwECLQAUAAYACAAAACEA8i0md0wBAABhAgAAEQAAAAAAAAAAAAAAAACKMwAAZG9jUHJvcHMvY29yZS54bWxQSwECLQAUAAYACAAAACEAtT5WBo4BAAAbAwAAEAAAAAAAAAAAAAAAAAANNgAAZG9jUHJvcHMvYXBwLnhtbFBLBQYAAAAACwALAL4CAADROA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fwAAAAdDYWxpYnJpBoAAAAAGK21uLWVhCYEAAAABAAmCAAAAByMAAAAAAQAAABEAAAAEFFN5c3RlbS5EcmF3aW5nLkNvbG9yBAAAAAV9////FFN5c3RlbS5EcmF3aW5nLkNvbG9yBAAAAARuYW1lBXZhbHVlCmtub3duQ29sb3IFc3RhdGUBAAAACQcHBAAAAAoAAAAAAAAAAAAAAAABfP///33///8KQTAt/wAAAAAAAAIAAXv///99////Cv////8AAAAAAAACAAF6////ff///wpBMC3/AAAAAAAAAgABef///33///8K/////wAAAAAAAAIAAXj///99////CpiTkv8AAAAAAAACAAF3////ff///wrW1NP/AAAAAAAAAgABdv///33///8KPEj//wAAAAAAAAIAAXX///99////CoqR//8AAAAAAAACAAF0////ff///wqxtv//AAAAAAAAAgABc////33///8K7O3//wAAAAAAAAIAAXL///99////CpiTkv8AAAAAAAACAAFx////ff///wpBMC3/AAAAAAAAAgABcP///33///8KQTAt/wAAAAAAAAIAAW////99////Cv////8AAAAAAAACAAFu////ff///wpBMC3/AAAAAAAAAgABbf///33///8K/////wAAAAAAAAIABCQAAACYAVN5c3RlbS5Db2xsZWN0aW9ucy5HZW5lcmljLkxpc3RgMVtbQXBsb3Jpcy5CYXNlLk9iamVjdHMuRGF0YU9iamVjdCwgQXBsb3Jpcy5CYXNlLCBWZXJzaW9uPTQuMi4wLjE5MjcsIEN1bHR1cmU9bmV1dHJhbCwgUHVibGljS2V5VG9rZW49MTZmYzEzYTIyNmMwZTk1MV1dAwAAAAZfaXRlbXMFX3NpemUIX3ZlcnNpb24EAAAhQXBsb3Jpcy5CYXNlLk9iamVjdHMuRGF0YU9iamVjdFtdAwAAAAgICZQAAAAMAAAADAAAAAQmAAAAlQFTeXN0ZW0uQ29sbGVjdGlvbnMuR2VuZXJpYy5MaXN0YDFbW0FwbG9yaXMuQmFzZS5VSS5WaXN1YWxPYmplY3QsIEFwbG9yaXMuQmFzZSwgVmVyc2lvbj00LjIuMC4xOTI3LCBDdWx0dXJlPW5ldXRyYWwsIFB1YmxpY0tleVRva2VuPTE2ZmMxM2EyMjZjMGU5NTFdXQMAAAAGX2l0ZW1zBV9zaXplCF92ZXJzaW9uBAAAHkFwbG9yaXMuQmFzZS5VSS5WaXN1YWxPYmplY3RbXQMAAAAICAmVAAAAAQAAAAEAAAAFKQAAAJsBQXBsb3Jpcy5CYXNlLk9iamVjdHMuRGF0YU9iamVjdENvbGxlY3Rpb25gMVtbQXBsb3Jpcy5DaGFydC5WYWx1ZUxpbmUsIEFwbG9yaXMuQ2hhcnQsIFZlcnNpb249NC4yLjAuMTkyNy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I3LCBDdWx0dXJlPW5ldXRyYWwsIFB1YmxpY0tleVRva2VuPTE2ZmMxM2EyMjZjMGU5NTFdXQMAAACRAVN5c3RlbS5Db2xsZWN0aW9ucy5HZW5lcmljLkxpc3RgMVtbQXBsb3Jpcy5DaGFydC5WYWx1ZUxpbmUsIEFwbG9yaXMuQ2hhcnQsIFZlcnNpb249NC4yLjAuMTkyNywgQ3VsdHVyZT1uZXV0cmFsLCBQdWJsaWNLZXlUb2tlbj0xNmZjMTNhMjI2YzBlOTUxXV2YAVN5c3RlbS5Db2xsZWN0aW9ucy5HZW5lcmljLkxpc3RgMVtbQXBsb3Jpcy5CYXNlLk9iamVjdHMuRGF0YU9iamVjdCwgQXBsb3Jpcy5CYXNlLCBWZXJzaW9uPTQuMi4wLjE5MjcsIEN1bHR1cmU9bmV1dHJhbCwgUHVibGljS2V5VG9rZW49MTZmYzEzYTIyNmMwZTk1MV1dJUFwbG9yaXMuQ2hhcnQuQ29sdW1uT3JpZW50ZWRDaGFydEF4aXMCAAAAIUFwbG9yaXMuQ2hhcnQuQ29sdW1uT3JpZW50ZWRDaGFydAIAAACVAVN5c3RlbS5Db2xsZWN0aW9ucy5HZW5lcmljLkxpc3RgMVtbQXBsb3Jpcy5CYXNlLlVJLlZpc3VhbE9iamVjdCwgQXBsb3Jpcy5CYXNlLCBWZXJzaW9uPTQuMi4wLjE5MjcsIEN1bHR1cmU9bmV1dHJhbCwgUHVibGljS2V5VG9rZW49MTZmYzEzYTIyNmMwZTk1MV1dAwAAAAoJlgAAAAmXAAAACQYAAAAJAQAAAAmaAAAABSoAAACbAUFwbG9yaXMuQmFzZS5PYmplY3RzLkRhdGFPYmplY3RDb2xsZWN0aW9uYDFbW0FwbG9yaXMuQ2hhcnQuQXhpc0JyZWFrLCBBcGxvcmlzLkNoYXJ0LCBWZXJzaW9uPTQuMi4wLjE5Mjc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yNywgQ3VsdHVyZT1uZXV0cmFsLCBQdWJsaWNLZXlUb2tlbj0xNmZjMTNhMjI2YzBlOTUxXV0DAAAAkQFTeXN0ZW0uQ29sbGVjdGlvbnMuR2VuZXJpYy5MaXN0YDFbW0FwbG9yaXMuQ2hhcnQuQXhpc0JyZWFrLCBBcGxvcmlzLkNoYXJ0LCBWZXJzaW9uPTQuMi4wLjE5MjcsIEN1bHR1cmU9bmV1dHJhbCwgUHVibGljS2V5VG9rZW49MTZmYzEzYTIyNmMwZTk1MV1dmAFTeXN0ZW0uQ29sbGVjdGlvbnMuR2VuZXJpYy5MaXN0YDFbW0FwbG9yaXMuQmFzZS5PYmplY3RzLkRhdGFPYmplY3QsIEFwbG9yaXMuQmFzZSwgVmVyc2lvbj00LjIuMC4xOTI3LCBDdWx0dXJlPW5ldXRyYWwsIFB1YmxpY0tleVRva2VuPTE2ZmMxM2EyMjZjMGU5NTFdXSVBcGxvcmlzLkNoYXJ0LkNvbHVtbk9yaWVudGVkQ2hhcnRBeGlzAgAAACFBcGxvcmlzLkNoYXJ0LkNvbHVtbk9yaWVudGVkQ2hhcnQCAAAAlQFTeXN0ZW0uQ29sbGVjdGlvbnMuR2VuZXJpYy5MaXN0YDFbW0FwbG9yaXMuQmFzZS5VSS5WaXN1YWxPYmplY3QsIEFwbG9yaXMuQmFzZSwgVmVyc2lvbj00LjIuMC4xOTI3LCBDdWx0dXJlPW5ldXRyYWwsIFB1YmxpY0tleVRva2VuPTE2ZmMxM2EyMjZjMGU5NTFdXQMAAAAKCZsAAAAJnAAAAAkGAAAACQEAAAAJnw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xAAAAAwAAAAlyAAAACXMAAAAJdAAAAAEAAAAACgoJdQ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cQAAAAMAAAAJcgAAAAlzAAAACXQAAAABAAAAAAoKCXUAAAAAAAAACgAAAAAAAAAABS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XEAAAADAAAACXIAAAAJcwAAAAl0AAAAAQAAAAAKBrQAAAABJQl1AAAAAQAAAAoAAAAAAAAAAAUuAAAAmgFBcGxvcmlzLkJhc2UuT2JqZWN0cy5EYXRhT2JqZWN0Q29sbGVjdGlvbmAxW1tBcGxvcmlzLkNoYXJ0LlRpY2tNYXJrLCBBcGxvcmlzLkNoYXJ0LCBWZXJzaW9uPTQuMi4wLjE5Mjc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I3LCBDdWx0dXJlPW5ldXRyYWwsIFB1YmxpY0tleVRva2VuPTE2ZmMxM2EyMjZjMGU5NTFdXQMAAACQAVN5c3RlbS5Db2xsZWN0aW9ucy5HZW5lcmljLkxpc3RgMVtbQXBsb3Jpcy5DaGFydC5UaWNrTWFyay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yNywgQ3VsdHVyZT1uZXV0cmFsLCBQdWJsaWNLZXlUb2tlbj0xNmZjMTNhMjI2YzBlOTUxXV0DAAAACgm2AAAACbcAAAAJBgAAAAkBAAAACboAAAAFMQAAABpBcGxvcmlzLkJhc2UuVUkuVmlzdWFsTGluZQ4AAAALbVN0YXJ0UG9pbnQJbUVuZFBvaW50C21MaW5lRm9ybWF0CW1QZXJzRGF0YR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CAAAAAAcCAAADABVTeXN0ZW0uRHJhd2luZy5Qb2ludEYEAAAAFVN5c3RlbS5EcmF3aW5nLlBvaW50RgQAAAAfQXBsb3Jpcy5CYXNlLk9iamVjdHMuTGluZUZvcm1hdAMAAAAICAEBCAEBD1N5c3RlbS5JbnRQdHJbXQEDAAAAAUX////g////nhqLQkI4r0MBRP///+D///8qBwJEQjivQwm9AAAACb4AAAC4AQAA/////wEBCgm+AAAAAQAKAQcyAAAAAAEAAAAFAAAABBVTeXN0ZW0uRHJhd2luZy5Qb2ludEYEAAAAAUH////g////KscCREI4r0MBQP///+D///+eGotCl8q5QwE/////4P///35qk0OXyrlDAT7////g////KgcCRJfKuUMBPf///+D///8qxwJEQrixQwczAAAAAAEAAAAFAAAABBdBcGxvcmlzLkJhc2UuQW5jaG9yTW9kZQMAAAAFPP///xdBcGxvcmlzLkJhc2UuQW5jaG9yTW9kZQEAAAAHdmFsdWVfXwAIAwAAAAQAAAABO////zz///8FAAAAATr///88////AwAAAAE5////PP///wYAAAABOP///zz///8FAAAADzQAAAAFAAAAAQAAAAABBTUAAAAVQXBsb3Jpcy5CYXNlLlVJLkxhYmVsHg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J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C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I3LCBDdWx0dXJlPW5ldXRyYWwsIFB1YmxpY0tleVRva2VuPTE2ZmMxM2EyMjZjMGU5NTFdXZYBU3lzdGVtLkNvbGxlY3Rpb25zLkdlbmVyaWMuTGlzdGAxW1tBcGxvcmlzLkJhc2UuT2JqZWN0cy5WYXJpYWJsZSwgQXBsb3Jpcy5CYXNlLCBWZXJzaW9uPTQuMi4wLjE5MjcsIEN1bHR1cmU9bmV1dHJhbCwgUHVibGljS2V5VG9rZW49MTZmYzEzYTIyNmMwZTk1MV1dCAgBAQgBAQ9TeXN0ZW0uSW50UHRyW10BAwAAAAE3////4P///yrHAkRCOK9DATb///88////BAAAAAAAAAAAAAAAAAnLAAAAAAAAAAnMAAAAAAAABTP///8qQXBsb3Jpcy5CYXNlLlVJLkxhYmVsK0xpbmVBbGlnbm1lbnRPcHRpb25zAQAAAAd2YWx1ZV9fAAgDAAAAAAAAAAEy////hf///wAAAAAAAAAAATH////s////AAAAAAAAAAAAAAAAAAAAAAAAAAAG0AAAAA1DYXRlZ29yeSBheGlzCgnRAAAACdAAAAAJ0wAAAOQCAAD/////AAEKCdMAAAABAAoBATYAAAAkAAAACdQAAAAGAAAABgAAAAE4AAAAJgAAAAnVAAAAAgAAAAIAAAABOwAAACkAAAAKCdYAAAAJ1wAAAAkHAAAACQEAAAAJ2gAAAAE8AAAAKgAAAAoJ2wAAAAncAAAACQcAAAAJAQAAAAnfAAAABT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AAAAAACXEAAAADAAAACXIAAAAJcwAAAAl0AAAAAQAAAAAKCgl1AAAAAAAAAAoAAAAAAAAAAAU+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lxAAAAAwAAAAlyAAAACXMAAAAJdAAAAAEAAAAACgoJdQAAAAAAAAAKAAAAAAAAAAAFP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cQAAAAMAAAAJcgAAAAlzAAAACXQAAAABAAAAAAoJtAAAAAl1AAAAAQAAAAoAAAAAAAAAAAFAAAAALgAAAAoJ9gAAAAn3AAAACQcAAAAJAQAAAAn6AAAAAUMAAAAxAAAAAQX////g////nhqLQkI4r0MBBP///+D///+eGotCNKAHQgn9AAAACf4AAAC4AQAA/////wEBCgn+AAAAAQAKAQdEAAAAAAEAAAAFAAAABBVTeXN0ZW0uRHJhd2luZy5Qb2ludEYEAAAAAQH////g////nhqLQsmtzkEBAP///+D///9qHQxCQjivQwH//v//4P///2odDEJILEBDAf7+///g////ah0MQjSgB0IB/f7//+D///9qHQxCya3OQQdFAAAAAAEAAAAFAAAABBdBcGxvcmlzLkJhc2UuQW5jaG9yTW9kZQMAAAAB/P7//zz///8BAAAAAfv+//88////CAAAAAH6/v//PP///wIAAAAB+f7//zz///8GAAAAAfj+//88////BwAAAA9GAAAABQAAAAEAAAAAAQFHAAAANQAAAAH3/v//4P///54ai0LJrc5BAfb+//88////AQAAAAAAAAAAAAAAAAkLAQAAAAAAAAkMAQAAAAAAAfP+//8z////AAAAAAHy/v//hf///44SyUJmPmJBAfH+///s////cXMkQcBlJEHRbuxCPiWBQV662T8GEAEAABdHbG9iYWwgSW9UIE1hcmtldCBpbiAkQgoJEQEAAAkQAQAACRMBAADkAgAA/////wEBCgkTAQAAAQAKAQFIAAAAJAAAAAkUAQAABgAAAAYAAAABSgAAACYAAAAJFQEAAAIAAAACAAAAB0sAAAAAAQAAAAAAAAAELkFwbG9yaXMuQ2hhcnQuQ29sdW1uT3JpZW50ZWRDaGFydCtVbnVzZWRTZXJpZXMCAAAABEwAAACXAVN5c3RlbS5Db2xsZWN0aW9ucy5HZW5lcmljLkxpc3RgMVtbQXBsb3Jpcy5DaGFydC5DaGFydERhdGFTZXJpZXMsIEFwbG9yaXMuQ2hhcnQsIFZlcnNpb249NC4yLjAuMTkyNywgQ3VsdHVyZT1uZXV0cmFsLCBQdWJsaWNLZXlUb2tlbj0xNmZjMTNhMjI2YzBlOTUxXV0DAAAABl9pdGVtcwVfc2l6ZQhfdmVyc2lvbgQAAB9BcGxvcmlzLkNoYXJ0LkNoYXJ0RGF0YVNlcmllc1tdAgAAAAgICRYBAAABAAAABQAAAAFNAAAAJAAAAAkXAQAAAQAAAAUAAAABTwAAACYAAAAJGAEAAAAAAAAAAAAABFAAAACcAVN5c3RlbS5Db2xsZWN0aW9ucy5HZW5lcmljLkxpc3RgMVtbQXBsb3Jpcy5DaGFydC5Bbm5vdGF0aW9uRGF0YVNlcmllcywgQXBsb3Jpcy5DaGFydCwgVmVyc2lvbj00LjIuMC4xOTI3LCBDdWx0dXJlPW5ldXRyYWwsIFB1YmxpY0tleVRva2VuPTE2ZmMxM2EyMjZjMGU5NTFdXQMAAAAGX2l0ZW1zBV9zaXplCF92ZXJzaW9uBAAAJEFwbG9yaXMuQ2hhcnQuQW5ub3RhdGlvbkRhdGFTZXJpZXNbXQIAAAAICAkZAQAAAAAAAAAAAAABUQAAACQAAAAJGgEAAAAAAAAAAAAAAVMAAAAmAAAACRgBAAAAAAAAAAAAAARUAAAAlwFTeXN0ZW0uQ29sbGVjdGlvbnMuR2VuZXJpYy5MaXN0YDFbW0FwbG9yaXMuQ2hhcnQuQW5ub3RhdGlvbkdyb3VwLCBBcGxvcmlzLkNoYXJ0LCBWZXJzaW9uPTQuMi4wLjE5MjcsIEN1bHR1cmU9bmV1dHJhbCwgUHVibGljS2V5VG9rZW49MTZmYzEzYTIyNmMwZTk1MV1dAwAAAAZfaXRlbXMFX3NpemUIX3ZlcnNpb24EAAAfQXBsb3Jpcy5DaGFydC5Bbm5vdGF0aW9uR3JvdXBbXQIAAAAICAkcAQAAAAAAAAAAAAABVQAAACQAAAAJGgEAAAAAAAAAAAAAAVcAAAAmAAAACRgBAAAAAAAAAAAAAARYAAAAlgFTeXN0ZW0uQ29sbGVjdGlvbnMuR2VuZXJpYy5MaXN0YDFbW0FwbG9yaXMuQ2hhcnQuQ2hhcnREYXRhR3JvdXAsIEFwbG9yaXMuQ2hhcnQsIFZlcnNpb249NC4yLjAuMTkyNywgQ3VsdHVyZT1uZXV0cmFsLCBQdWJsaWNLZXlUb2tlbj0xNmZjMTNhMjI2YzBlOTUxXV0DAAAABl9pdGVtcwVfc2l6ZQhfdmVyc2lvbgQAAB5BcGxvcmlzLkNoYXJ0LkNoYXJ0RGF0YUdyb3VwW10CAAAACAgJHwEAAAgAAAAKAAAAAVkAAAAkAAAACSABAAAIAAAACgAAAAFbAAAAJgAAAAkYAQAAAAAAAAAAAAAEXAAAAJABU3lzdGVtLkNvbGxlY3Rpb25zLkdlbmVyaWMuTGlzdGAxW1tBcGxvcmlzLkNoYXJ0LkRlbHRhQmFyLCBBcGxvcmlzLkNoYXJ0LCBWZXJzaW9uPTQuMi4wLjE5MjcsIEN1bHR1cmU9bmV1dHJhbCwgUHVibGljS2V5VG9rZW49MTZmYzEzYTIyNmMwZTk1MV1dAwAAAAZfaXRlbXMFX3NpemUIX3ZlcnNpb24EAAAYQXBsb3Jpcy5DaGFydC5EZWx0YUJhcltdAgAAAAgICSIBAAAAAAAAAAAAAAFdAAAAJAAAAAkaAQAAAAAAAAAAAAABXwAAACYAAAAJGAEAAAAAAAAAAAAABGAAAACTAVN5c3RlbS5Db2xsZWN0aW9ucy5HZW5lcmljLkxpc3RgMVtbQXBsb3Jpcy5DaGFydC5EZWx0YUJyaWRnZSwgQXBsb3Jpcy5DaGFydCwgVmVyc2lvbj00LjIuMC4xOTI3LCBDdWx0dXJlPW5ldXRyYWwsIFB1YmxpY0tleVRva2VuPTE2ZmMxM2EyMjZjMGU5NTFdXQMAAAAGX2l0ZW1zBV9zaXplCF92ZXJzaW9uBAAAG0FwbG9yaXMuQ2hhcnQuRGVsdGFCcmlkZ2VbXQIAAAAICAklAQAAAAAAAAAAAAABYQAAACQAAAAJGgEAAAAAAAAAAAAAAWMAAAAmAAAACRgBAAAAAAAAAAAAAARkAAAAkwFTeXN0ZW0uQ29sbGVjdGlvbnMuR2VuZXJpYy5MaXN0YDFbW0FwbG9yaXMuQ2hhcnQuR3Jvd3RoQXJyb3csIEFwbG9yaXMuQ2hhcnQsIFZlcnNpb249NC4yLjAuMTkyNywgQ3VsdHVyZT1uZXV0cmFsLCBQdWJsaWNLZXlUb2tlbj0xNmZjMTNhMjI2YzBlOTUxXV0DAAAABl9pdGVtcwVfc2l6ZQhfdmVyc2lvbgQAABtBcGxvcmlzLkNoYXJ0Lkdyb3d0aEFycm93W10CAAAACAgJKAEAAAIAAAAGAAAAAWUAAAAkAAAACSkBAAACAAAABgAAAAFnAAAAJgAAAAkYAQAAAAAAAAAAAAAEaAAAAJoBU3lzdGVtLkNvbGxlY3Rpb25zLkdlbmVyaWMuTGlzdGAxW1tBcGxvcmlzLkNoYXJ0LldhdGVyZmFsbENvbm5lY3RvciwgQXBsb3Jpcy5DaGFydCwgVmVyc2lvbj00LjIuMC4xOTI3LCBDdWx0dXJlPW5ldXRyYWwsIFB1YmxpY0tleVRva2VuPTE2ZmMxM2EyMjZjMGU5NTFdXQMAAAAGX2l0ZW1zBV9zaXplCF92ZXJzaW9uBAAAIkFwbG9yaXMuQ2hhcnQuV2F0ZXJmYWxsQ29ubmVjdG9yW10CAAAACAgJKwEAAAAAAAAAAAAAAWkAAAAkAAAACRoBAAAAAAAAAAAAAAFrAAAAJgAAAAkYAQAAAAAAAAAAAAAEbAAAAJgBU3lzdGVtLkNvbGxlY3Rpb25zLkdlbmVyaWMuTGlzdGAxW1tBcGxvcmlzLkNoYXJ0LkVsZW1lbnRDb25uZWN0b3IsIEFwbG9yaXMuQ2hhcnQsIFZlcnNpb249NC4yLjAuMTkyNywgQ3VsdHVyZT1uZXV0cmFsLCBQdWJsaWNLZXlUb2tlbj0xNmZjMTNhMjI2YzBlOTUxXV0DAAAABl9pdGVtcwVfc2l6ZQhfdmVyc2lvbgQAACBBcGxvcmlzLkNoYXJ0LkVsZW1lbnRDb25uZWN0b3JbXQIAAAAICAkuAQAAAAAAAAAAAAABbQAAACQAAAAJGgEAAAAAAAAAAAAAAW8AAAAmAAAACRgBAAAAAAAAAAAAAAV5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TEBAAAJMgEAAAEAAAD+////AQAAAAEAAAABAAAAAQAAAAEAAAABAAAAAAABBXo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MwEAAAk0AQAAAQAAAAAAAAAAAAAAAAAAAAABBX4AAAAfQXBsb3Jpcy5CYXNlLk9iamVjdHMuUGVyc0lkRGF0YQIAAAADbUlkC21DdXN0b21EYXRhBwIIAwAAAAk1AQAACTYBAAAFgQAAABpBcGxvcmlzLkJhc2UuT2JqZWN0cy5Db2xvcgcAAAASRGF0YU9iamVjdCttUGFyZW50FURhdGFPYmplY3QrbUNvbnRhaW5lcgVtVHlwZQRtUkdCEG1UaGVtZUNvbG9ySW5kZXgMbUF1dG9VcGRhdGVkCW1Nb2RpZmllZAICAAAAAAAICAgBAQMAAAAKCgAAAAAtMEEADQAAAAABAYIAAACBAAAACgoBAAAAAAAAAP////8AAQeUAAAAAAEAAAAQAAAABB9BcGxvcmlzLkJhc2UuT2JqZWN0cy5EYXRhT2JqZWN0AwAAAAkJAAAACQoAAAAJCwAAAAkMAAAACRAAAAAJEQAAAAkNAAAACQ4AAAAJDwAAAAkHAAAACQYAAAAJFwAAAA0EB5UAAAAAAQAAAAQAAAAEHEFwbG9yaXMuQmFzZS5VSS5WaXN1YWxPYmplY3QDAAAACRsAAAANAwSWAAAAkQFTeXN0ZW0uQ29sbGVjdGlvbnMuR2VuZXJpYy5MaXN0YDFbW0FwbG9yaXMuQ2hhcnQuVmFsdWVMaW5lLCBBcGxvcmlzLkNoYXJ0LCBWZXJzaW9uPTQuMi4wLjE5MjcsIEN1bHR1cmU9bmV1dHJhbCwgUHVibGljS2V5VG9rZW49MTZmYzEzYTIyNmMwZTk1MV1dAwAAAAZfaXRlbXMFX3NpemUIX3ZlcnNpb24EAAAZQXBsb3Jpcy5DaGFydC5WYWx1ZUxpbmVbXQIAAAAICAlEAQAAAAAAAAAAAAABlwAAACQAAAAJGgEAAAAAAAAAAAAAAZoAAAAmAAAACRgBAAAAAAAAAAAAAASbAAAAkQFTeXN0ZW0uQ29sbGVjdGlvbnMuR2VuZXJpYy5MaXN0YDFbW0FwbG9yaXMuQ2hhcnQuQXhpc0JyZWFrLCBBcGxvcmlzLkNoYXJ0LCBWZXJzaW9uPTQuMi4wLjE5MjcsIEN1bHR1cmU9bmV1dHJhbCwgUHVibGljS2V5VG9rZW49MTZmYzEzYTIyNmMwZTk1MV1dAwAAAAZfaXRlbXMFX3NpemUIX3ZlcnNpb24EAAAZQXBsb3Jpcy5DaGFydC5BeGlzQnJlYWtbXQIAAAAICAlHAQAAAAAAAAAAAAABnAAAACQAAAAJGgEAAAAAAAAAAAAAAZ8AAAAmAAAACRgBAAAAAAAAAAAAAAS2AAAAkAFTeXN0ZW0uQ29sbGVjdGlvbnMuR2VuZXJpYy5MaXN0YDFbW0FwbG9yaXMuQ2hhcnQuVGlja01hcmssIEFwbG9yaXMuQ2hhcnQsIFZlcnNpb249NC4yLjAuMTkyNywgQ3VsdHVyZT1uZXV0cmFsLCBQdWJsaWNLZXlUb2tlbj0xNmZjMTNhMjI2YzBlOTUxXV0DAAAABl9pdGVtcwVfc2l6ZQhfdmVyc2lvbgQAABhBcGxvcmlzLkNoYXJ0LlRpY2tNYXJrW10CAAAACAgJSgEAAAAAAAAAAAAAAbcAAAAkAAAACRoBAAAAAAAAAAAAAAG6AAAAJgAAAAkYAQAAAAAAAAAAAAABvQAAAHkAAAAKCgAAAEA/CU0BAAAJTgEAAAEAAAD+////AAAAAAEAAAAAAAAAAAAAAAEAAAAAAAAAAAAAAb4AAAB+AAAACU8BAAAJUAEAAAXL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fwAAAAmAAAAACVQBAAABAAlVAQAAAcwAAACBAAAACgoBAAAAAAAAAP////8AAQTRAAAAlgFTeXN0ZW0uQ29sbGVjdGlvbnMuR2VuZXJpYy5MaXN0YDFbW0FwbG9yaXMuQmFzZS5PYmplY3RzLlZhcmlhYmxlLCBBcGxvcmlzLkJhc2UsIFZlcnNpb249NC4yLjAuMTkyNywgQ3VsdHVyZT1uZXV0cmFsLCBQdWJsaWNLZXlUb2tlbj0xNmZjMTNhMjI2YzBlOTUxXV0DAAAABl9pdGVtcwVfc2l6ZQhfdmVyc2lvbgQAAB9BcGxvcmlzLkJhc2UuT2JqZWN0cy5WYXJpYWJsZVtdAwAAAAgICVYBAAAAAAAAAAAAAAHTAAAAfgAAAAlXAQAACVgBAAAH1AAAAAABAAAACAAAAAQfQXBsb3Jpcy5CYXNlLk9iamVjdHMuRGF0YU9iamVjdAMAAAAJKwAAAAksAAAACS0AAAAJLgAAAAkpAAAACSoAAAANAgfVAAAAAAEAAAAEAAAABBxBcGxvcmlzLkJhc2UuVUkuVmlzdWFsT2JqZWN0AwAAAAkxAAAACTUAAAANAgHWAAAAlgAAAAlEAQAAAAAAAAAAAAAB1wAAACQAAAAJGgEAAAAAAAAAAAAAAdoAAAAmAAAACRgBAAAAAAAAAAAAAAHbAAAAmwAAAAlHAQAAAAAAAAAAAAAB3AAAACQAAAAJGgEAAAAAAAAAAAAAAd8AAAAmAAAACRgBAAAAAAAAAAAAAAH2AAAAtgAAAAlnAQAACAAAADIAAAAB9wAAACQAAAAJaAEAAAgAAAAyAAAAAfoAAAAmAAAACRgBAAAAAAAAAAAAAAH9AAAAeQAAAAoKAAAAQD8JagEAAAlrAQAAAQAAAP7///8AAAAAAQAAAAAAAAAAAAAAAQAAAAAAAAAAAAAB/gAAAH4AAAAJbAEAAAltAQAABQs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AAAACYAAAAAJcQEAAAAACXIBAAABDAEAAIEAAAAKCgAAAAD///8ADgAAAAABAREBAADRAAAACVYBAAAAAAAAAgAAAAETAQAAfgAAAAl0AQAACXUBAAAHFAEAAAABAAAACAAAAAQfQXBsb3Jpcy5CYXNlLk9iamVjdHMuRGF0YU9iamVjdAMAAAAJPQAAAAk+AAAACT8AAAAJQAAAAAk7AAAACTwAAAANAgcVAQAAAAEAAAAEAAAABBxBcGxvcmlzLkJhc2UuVUkuVmlzdWFsT2JqZWN0AwAAAAlDAAAACUcAAAANAgcWAQAAAAEAAAAEAAAABB1BcGxvcmlzLkNoYXJ0LkNoYXJ0RGF0YVNlcmllcwIAAAAJfgEAAA0DBxcBAAAAAQAAAAQAAAAEH0FwbG9yaXMuQmFzZS5PYmplY3RzLkRhdGFPYmplY3QDAAAACX4BAAANAwcYAQAAAAEAAAAAAAAABBxBcGxvcmlzLkJhc2UuVUkuVmlzdWFsT2JqZWN0AwAAAAcZAQAAAAEAAAAAAAAABCJBcGxvcmlzLkNoYXJ0LkFubm90YXRpb25EYXRhU2VyaWVzAgAAAAcaAQAAAAEAAAAAAAAABB9BcGxvcmlzLkJhc2UuT2JqZWN0cy5EYXRhT2JqZWN0AwAAAAccAQAAAAEAAAAAAAAABB1BcGxvcmlzLkNoYXJ0LkFubm90YXRpb25Hcm91cAIAAAAHHwEAAAABAAAAEAAAAAQcQXBsb3Jpcy5DaGFydC5DaGFydERhdGFHcm91cAIAAAAJfwEAAAmAAQAACYEBAAAJggEAAAmDAQAACYQBAAAJhQEAAAmGAQAADQgHIAEAAAABAAAAEAAAAAQfQXBsb3Jpcy5CYXNlLk9iamVjdHMuRGF0YU9iamVjdAMAAAAJfwEAAAmAAQAACYEBAAAJggEAAAmDAQAACYQBAAAJhQEAAAmGAQAADQgHIgEAAAABAAAAAAAAAAQWQXBsb3Jpcy5DaGFydC5EZWx0YUJhcgIAAAAHJQEAAAABAAAAAAAAAAQZQXBsb3Jpcy5DaGFydC5EZWx0YUJyaWRnZQIAAAAHKAEAAAABAAAABAAAAAQZQXBsb3Jpcy5DaGFydC5Hcm93dGhBcnJvdwIAAAAJjwEAAAmQAQAADQIHKQEAAAABAAAABAAAAAQfQXBsb3Jpcy5CYXNlLk9iamVjdHMuRGF0YU9iamVjdAMAAAAJjwEAAAmQAQAADQIHKwEAAAABAAAAAAAAAAQgQXBsb3Jpcy5DaGFydC5XYXRlcmZhbGxDb25uZWN0b3ICAAAABy4BAAAAAQAAAAAAAAAEHkFwbG9yaXMuQ2hhcnQuRWxlbWVudENvbm5lY3RvcgIAAAABMQEAAIEAAAAKCgAAAAAtMEEADQAAAAABATIBAACBAAAACgoBAAAAAAAAAP////8AAQEzAQAAgQAAAAoKAQAAAP///wD/////AAEBNAEAAIEAAAAKCgEAAAAAAAAA/////wABDzUBAAABAAAACAEAAAAHNgEAAAABAAAAAQAAAAMNU3lzdGVtLkludFB0cgRt/v//DVN5c3RlbS5JbnRQdHIBAAAABXZhbHVlAAkAAAAAAAAAAAdEAQAAAAEAAAAAAAAABBdBcGxvcmlzLkNoYXJ0LlZhbHVlTGluZQIAAAAHRwEAAAABAAAAAAAAAAQXQXBsb3Jpcy5DaGFydC5BeGlzQnJlYWsCAAAAB0oBAAAAAQAAAAAAAAAEFkFwbG9yaXMuQ2hhcnQuVGlja01hcmsCAAAABU0BAAAaQXBsb3Jpcy5CYXNlLk9iamVjdHMuQ29sb3IHAAAAEkRhdGFPYmplY3QrbVBhcmVudBVEYXRhT2JqZWN0K21Db250YWluZXIFbVR5cGUEbVJHQhBtVGhlbWVDb2xvckluZGV4DG1BdXRvVXBkYXRlZAltTW9kaWZpZWQEAgAAAAAAH0FwbG9yaXMuQmFzZS5PYmplY3RzLkxpbmVGb3JtYXQDAAAACAgIAQEDAAAACb0AAAAKAAAAAC0wQQANAAAAAAAFTgEAABpBcGxvcmlzLkJhc2UuT2JqZWN0cy5Db2xvcgcAAAASRGF0YU9iamVjdCttUGFyZW50FURhdGFPYmplY3QrbUNvbnRhaW5lcgVtVHlwZQRtUkdCEG1UaGVtZUNvbG9ySW5kZXgMbUF1dG9VcGRhdGVkCW1Nb2RpZmllZAQCAAAAAAAfQXBsb3Jpcy5CYXNlLk9iamVjdHMuTGluZUZvcm1hdAMAAAAICAgBAQMAAAAJvQAAAAoBAAAAAAAAAP////8AAQ9PAQAAAQAAAAgKAAAAB1ABAAAAAQAAAAEAAAADDVN5c3RlbS5JbnRQdHIBa/7//23+//8AAAAAAAAAAAFUAQAAgQAAAAoKAAAAAC0wQQANAAAAAAEBVQEAAIEAAAAKCgEAAAAAAAAA/////wABB1YBAAAAAQAAAAAAAAAEHUFwbG9yaXMuQmFzZS5PYmplY3RzLlZhcmlhYmxlAwAAAA9XAQAAAQAAAAgLAAAAB1gBAAAAAQAAAAEAAAADDVN5c3RlbS5JbnRQdHIBav7//23+//8AAAAAAAAAAAdnAQAAAAEAAAAQAAAABBZBcGxvcmlzLkNoYXJ0LlRpY2tNYXJrAgAAAAmXAQAACZgBAAAJmQEAAAmaAQAACZsBAAAJnAEAAAmdAQAACZ4BAAANCAdoAQAAAAEAAAAQAAAABB9BcGxvcmlzLkJhc2UuT2JqZWN0cy5EYXRhT2JqZWN0AwAAAAmXAQAACZgBAAAJmQEAAAmaAQAACZsBAAAJnAEAAAmdAQAACZ4BAAANCAVqAQAAGkFwbG9yaXMuQmFzZS5PYmplY3RzLkNvbG9yBwAAABJEYXRhT2JqZWN0K21QYXJlbnQVRGF0YU9iamVjdCttQ29udGFpbmVyBW1UeXBlBG1SR0IQbVRoZW1lQ29sb3JJbmRleAxtQXV0b1VwZGF0ZWQJbU1vZGlmaWVkBAIAAAAAAB9BcGxvcmlzLkJhc2UuT2JqZWN0cy5MaW5lRm9ybWF0AwAAAAgICAEBAwAAAAn9AAAACgAAAAAtMEEADQAAAAAABWsBAAAaQXBsb3Jpcy5CYXNlLk9iamVjdHMuQ29sb3IHAAAAEkRhdGFPYmplY3QrbVBhcmVudBVEYXRhT2JqZWN0K21Db250YWluZXIFbVR5cGUEbVJHQhBtVGhlbWVDb2xvckluZGV4DG1BdXRvVXBkYXRlZAltTW9kaWZpZWQEAgAAAAAAH0FwbG9yaXMuQmFzZS5PYmplY3RzLkxpbmVGb3JtYXQDAAAACAgIAQEDAAAACf0AAAAKAQAAAAAAAAD/////AAEPbAEAAAEAAAAILAAAAAdtAQAAAAEAAAABAAAAAw1TeXN0ZW0uSW50UHRyAVj+//9t/v//AAAAAAAAAAABcQEAAIEAAAAKCgAAAAAtMEEADQAAAAAAAXIBAACBAAAACgoAAAAALTBBAA0AAAAAAQ90AQAAAQAAAAgMAAAAB3UBAAAAAQAAAAEAAAADDVN5c3RlbS5JbnRQdHIBV/7//23+//8AAAAAAAAAAAV+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jc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IAAAAJAQAAAAFV/v//7f///wAAAAACAAAA/////wkHAAAACa0BAAAGrgEAAAhTZXJpZXMgMQoKAAAAAAAAAAAAAAAACgoACa8BAAAJsAEAAAmxAQAAAAAAAAAAAAAAAAAAAAAAAAAACbIBAAAJAQAAAAkBAAAACbQBAAAFf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I3LCBDdWx0dXJlPW5ldXRyYWwsIFB1YmxpY0tleVRva2VuPTE2ZmMxM2EyMjZjMGU5NTFdXSFBcGxvcmlzLkNoYXJ0LkNvbHVtbk9yaWVudGVkQ2hhcnQCAAAAIUFwbG9yaXMuQ2hhcnQuQ29sdW1uT3JpZW50ZWRDaGFydAIAAACVAVN5c3RlbS5Db2xsZWN0aW9ucy5HZW5lcmljLkxpc3RgMVtbQXBsb3Jpcy5CYXNlLlVJLlZpc3VhbE9iamVjdCwgQXBsb3Jpcy5CYXNlLCBWZXJzaW9uPTQuMi4wLjE5MjcsIEN1bHR1cmU9bmV1dHJhbCwgUHVibGljS2V5VG9rZW49MTZmYzEzYTIyNmMwZTk1MV1dAgAAAAkBAAAABrYBAAAEMjAxOAAFSf7//x5BcGxvcmlzLkNoYXJ0LkNoYXJ0R3JvdXBBbmNob3IBAAAAB3ZhbHVlX18ACAIAAAAAAAAACgAAAAABAAAAAQAAAAm4AQAACbkBAAAJugEAAAoKCbsBAAAJAQAAAAkBAAAACb0BAAABgAEAAH8BAAAJAQAAAAa/AQAABDIwMTkAAUD+//9J/v//AAAAAAoAAAAAAQAAAAEAAAAJwQEAAAnCAQAACcMBAAAKCgnEAQAACQEAAAAJAQAAAAnGAQAAAYEBAAB/AQAACQEAAAAGyAEAAAQyMDIwAAE3/v//Sf7//wAAAAAKAAAAAAEAAAABAAAACcoBAAAJywEAAAnMAQAACgoJzQEAAAkBAAAACQEAAAAJzwEAAAGCAQAAfwEAAAkBAAAABtEBAAAEMjAyMQABLv7//0n+//8AAAAACgAAAAABAAAAAQAAAAnTAQAACdQBAAAJ1QEAAAoKCdYBAAAJAQAAAAkBAAAACdgBAAABgwEAAH8BAAAJAQAAAAbaAQAABDIwMjIAASX+//9J/v//AAAAAAoAAAAAAQAAAAEAAAAJ3AEAAAndAQAACd4BAAAKCgnfAQAACQEAAAAJAQAAAAnhAQAAAYQBAAB/AQAACQEAAAAG4wEAAAQyMDIzAAEc/v//Sf7//wAAAAAKAAAAAAEAAAABAAAACeUBAAAJ5gEAAAnnAQAACgoJ6AEAAAkBAAAACQEAAAAJ6gEAAAGFAQAAfwEAAAkBAAAABuwBAAAEMjAyNAABE/7//0n+//8AAAAACgAAAAABAAAAAQAAAAnuAQAACe8BAAAJ8AEAAAoKCfEBAAAJAQAAAAkBAAAACfMBAAABhgEAAH8BAAAJAQAAAAb1AQAABDIwMjUAAQr+//9J/v//AAAAAAoAAAAAAQAAAAEAAAAJ9wEAAAn4AQAACfkBAAAKCgn6AQAACQEAAAAJAQAAAAn8AQAABY8BAAAZQXBsb3Jpcy5DaGFydC5Hcm93dGhBcnJvdxEAAAANbURhdGFFbGVtZW50MQ1tRGF0YUVsZW1lbnQyBm1DaGFydA5tUG9zaXRpb25JbmRleA9tUG9zaXRpb25PZmZzZXQSbU1hZ25pdHVkZVByb3ZpZGVyEG1OdW1iZXJGb3JtYXRBYnMUbU51bWJlckZvcm1hdFBlcmNlbnQFbUxpbmUGbUxhYmVsD21MYWJlbFBvc2l0aW9ucxFtTGFiZWxBbmNob3JNb2Rlcw5tTGFiZWxQb3NpdGlvbhhEYXRhT2JqZWN0K21DaGlsZE9iamVjdHMSRGF0YU9iamVjdCttUGFyZW50FURhdGFPYmplY3QrbUNvbnRhaW5lchlEYXRhT2JqZWN0K21WaXN1YWxPYmplY3RzBAQEAAAEBAQEBAQEAAMEBAMeQXBsb3Jpcy5DaGFydC5DaGFydERhdGFFbGVtZW50AgAAAB5BcGxvcmlzLkNoYXJ0LkNoYXJ0RGF0YUVsZW1lbnQCAAAAIUFwbG9yaXMuQ2hhcnQuQ29sdW1uT3JpZW50ZWRDaGFydAIAAAAICydBcGxvcmlzLkNoYXJ0LlN0YW5kYXJkTWFnbml0dWRlUHJvdmlkZXICAAAAGkFwbG9yaXMuQ2hhcnQuTnVtYmVyRm9ybWF0AgAAABpBcGxvcmlzLkNoYXJ0Lk51bWJlckZvcm1hdAIAAAAaQXBsb3Jpcy5CYXNlLlVJLlZpc3VhbExpbmUDAAAAG0FwbG9yaXMuQmFzZS5VSS5GcmFtZWRMYWJlbAMAAAAXU3lzdGVtLkRyYXdpbmcuUG9pbnRGW10EAAAAGUFwbG9yaXMuQmFzZS5BbmNob3JNb2RlW10DAAAACJgBU3lzdGVtLkNvbGxlY3Rpb25zLkdlbmVyaWMuTGlzdGAxW1tBcGxvcmlzLkJhc2UuT2JqZWN0cy5EYXRhT2JqZWN0LCBBcGxvcmlzLkJhc2UsIFZlcnNpb249NC4yLjAuMTkyNy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I3LCBDdWx0dXJlPW5ldXRyYWwsIFB1YmxpY0tleVRva2VuPTE2ZmMxM2EyMjZjMGU5NTFdXQIAAAAJ/QEAAAn+AQAACQEAAAAAAAAAAAAAAAkAAgAACQECAAAJAgIAAAkDAgAACQQCAAAJBQIAAAkGAgAAAAAAAAkHAgAACQEAAAAJAQAAAAkJAgAAAZABAACPAQAACQoCAAAJ/QEAAAkBAAAAAAAAAAAAAAAJDQIAAAkOAgAACQ8CAAAJEAIAAAkRAgAACRICAAAJEwIAAAAAAAAJFAIAAAkBAAAACQEAAAAJFgIAAAWX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JUFwbG9yaXMuQ2hhcnQuQ29sdW1uT3JpZW50ZWRDaGFydEF4aXMCAAAAAQYVU3lzdGVtLkRyYXdpbmcuUG9pbnRGBAAAABVTeXN0ZW0uRHJhd2luZy5Qb2ludEYEAAAAAZgBU3lzdGVtLkNvbGxlY3Rpb25zLkdlbmVyaWMuTGlzdGAxW1tBcGxvcmlzLkJhc2UuT2JqZWN0cy5EYXRhT2JqZWN0LCBBcGxvcmlzLkJhc2UsIFZlcnNpb249NC4yLjAuMTkyNy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yNywgQ3VsdHVyZT1uZXV0cmFsLCBQdWJsaWNLZXlUb2tlbj0xNmZjMTNhMjI2YzBlOTUxXV0CAAAACRcCAAAKCRgCAAAJBwAAAAEAAAAAAAAAAAHm/f//4P///54ai0JCOK9DAeX9///g////nhqDQkI4r0MACRwCAAAJBwAAAAkBAAAACR8CAAABmAEAAJcBAAAJIAIAAAoJIQIAAAkHAAAAAQAAAAAAAGlAAd39///g////nhqLQjqcmEMB3P3//+D///+eGoNCOpyYQwAJJQIAAAkHAAAACQEAAAAJKAIAAAGZAQAAlwEAAAkpAgAACgkqAgAACQcAAAABAAAAAAAAeUAB1P3//+D///+eGotCMQCCQwHT/f//4P///54ag0IxAIJDAAkuAgAACQcAAAAJAQAAAAkxAgAAAZoBAACXAQAACTICAAAKCTMCAAAJBwAAAAEAAAAAAMCCQAHL/f//4P///54ai0JRyFZDAcr9///g////nhqDQlHIVkMACTcCAAAJBwAAAAkBAAAACToCAAABmwEAAJcBAAAJOwIAAAoJPAIAAAkHAAAAAQAAAAAAAIlAAcL9///g////nhqLQkCQKUMBwf3//+D///+eGoNCQJApQwAJQAIAAAkHAAAACQEAAAAJQwIAAAGcAQAAlwEAAAlEAgAACglFAgAACQcAAAABAAAAAABAj0ABuf3//+D///+eGotCXrD4QgG4/f//4P///54ag0JesPhCAAlJAgAACQcAAAAJAQAAAAlMAgAAAZ0BAACXAQAACU0CAAAKCU4CAAAJBwAAAAEAAAAAAMCSQAGw/f//4P///54ai0I8QJ5CAa/9///g////nhqDQjxAnkIACVICAAAJBwAAAAkBAAAACVUCAAABngEAAJcBAAAJVgIAAAoJVwIAAAkHAAAAAQAAAAAA4JVAAaf9///g////nhqLQjSgB0IBpv3//+D///+eGoNCNKAHQgAJWwIAAAkHAAAACQEAAAAJXgIAAAWtAQAAogFBcGxvcmlzLkJhc2UuT2JqZWN0cy5EYXRhT2JqZWN0Q29sbGVjdGlvbmAxW1tBcGxvcmlzLkNoYXJ0LkNoYXJ0RGF0YUVsZW1lbnQsIEFwbG9yaXMuQ2hhcnQsIFZlcnNpb249NC4yLjAuMTkyNy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yNywgQ3VsdHVyZT1uZXV0cmFsLCBQdWJsaWNLZXlUb2tlbj0xNmZjMTNhMjI2YzBlOTUxXV0DAAAAmAFTeXN0ZW0uQ29sbGVjdGlvbnMuR2VuZXJpYy5MaXN0YDFbW0FwbG9yaXMuQ2hhcnQuQ2hhcnREYXRhRWxlbWVudCwgQXBsb3Jpcy5DaGFydCwgVmVyc2lvbj00LjIuMC4xOTI3LCBDdWx0dXJlPW5ldXRyYWwsIFB1YmxpY0tleVRva2VuPTE2ZmMxM2EyMjZjMGU5NTFdXZgBU3lzdGVtLkNvbGxlY3Rpb25zLkdlbmVyaWMuTGlzdGAxW1tBcGxvcmlzLkJhc2UuT2JqZWN0cy5EYXRhT2JqZWN0LCBBcGxvcmlzLkJhc2UsIFZlcnNpb249NC4yLjAuMTkyNywgQ3VsdHVyZT1uZXV0cmFsLCBQdWJsaWNLZXlUb2tlbj0xNmZjMTNhMjI2YzBlOTUxXV0dQXBsb3Jpcy5DaGFydC5DaGFydERhdGFTZXJpZXMCAAAAIUFwbG9yaXMuQ2hhcnQuQ29sdW1uT3JpZW50ZWRDaGFydAIAAACVAVN5c3RlbS5Db2xsZWN0aW9ucy5HZW5lcmljLkxpc3RgMVtbQXBsb3Jpcy5CYXNlLlVJLlZpc3VhbE9iamVjdCwgQXBsb3Jpcy5CYXNlLCBWZXJzaW9uPTQuMi4wLjE5MjcsIEN1bHR1cmU9bmV1dHJhbCwgUHVibGljS2V5VG9rZW49MTZmYzEzYTIyNmMwZTk1MV1dAwAAAAoJXwIAAAlgAgAACX4BAAAJAQAAAAljAgAABa8BAAAcQXBsb3Jpcy5DaGFydC5Db25uZWN0ZWRMYWJlbCcAAAAObUNvbm5lY3RvckxpbmUQbVpPcmRlckNvbm5lY3Rvcg5tQ29ubmVjdG9yTW9kZRltQW5nbGVkQ29ubmVjdG9yRGlyZWN0aW9uEG1Db25uZWN0b3JUYXJnZXQZbUNvbm5lY3RvclRhcmdldEFyZWFTaGFwZRptQ29ubmVjdG9yRGlzcGxheVRocmVzaG9sZBNtQ29ubmVjdEFuY2hvclBvaW50CW1QZXJzRGF0YR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PTGFiZWwr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AgQEAAAABAAEAAAABAQEAAEDAwEC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I3LCBDdWx0dXJlPW5ldXRyYWwsIFB1YmxpY0tleVRva2VuPTE2ZmMxM2EyMjZjMGU5NTFdXZYBU3lzdGVtLkNvbGxlY3Rpb25zLkdlbmVyaWMuTGlzdGAxW1tBcGxvcmlzLkJhc2UuT2JqZWN0cy5WYXJpYWJsZSwgQXBsb3Jpcy5CYXNlLCBWZXJzaW9uPTQuMi4wLjE5MjcsIEN1bHR1cmU9bmV1dHJhbCwgUHVibGljS2V5VG9rZW49MTZmYzEzYTIyNmMwZTk1MV1dCAgBAQgBAQ9TeXN0ZW0uSW50UHRyW10BAgAAAApYAgAABZz9//8rQXBsb3Jpcy5DaGFydC5Db25uZWN0ZWRMYWJlbCtlQ29ubmVjdG9yTW9kZQEAAAAHdmFsdWVfXwAIAgAAAAEAAAAFm/3//zZBcGxvcmlzLkNoYXJ0LkNvbm5lY3RlZExhYmVsK2VBbmdsZWRDb25uZWN0b3JEaXJlY3Rpb24BAAAAB3ZhbHVlX18ACAIAAAAAAAAAAZr9///s////DK3uQ8zWmUKgmelBj0KHQwWZ/f//LUFwbG9yaXMuQ2hhcnQuQ29ubmVjdGVkTGFiZWwrZVRhcmdldEFyZWFTaGFwZQEAAAAHdmFsdWVfXwAIAgAAAAAAAAAAABBBAQloAgAAAZf9///g////U6MARPUtVEMBlv3//zz///8EAAAAAAAAAAAAAAAACWsCAAAAAAAACWwCAAAAAAABk/3//zP///8AAAAAAZL9//+F////ndBDQjPzpkEBkf3//+z///8AAAAAAAAAAAAAAAAAAAAAXrrZPwmuAQAACglxAgAABnICAAAACWgCAAAgAwAA/////wABCgloAgAAAQAKAQewAQAAAAEAAAACAAAABBVTeXN0ZW0uRHJhd2luZy5Qb2ludEYEAAAAAYz9///g////U6MARPUtVEMBi/3//+D///+eGoFCSa6mQwexAQAAAAEAAAACAAAABBdBcGxvcmlzLkJhc2UuQW5jaG9yTW9kZQMAAAABiv3//zz///8EAAAAAYn9//88////AgAAAAGyAQAAJAAAAAl4AgAAAQAAAAEAAAABtAEAACYAAAAJeQIAAAEAAAADAAAAD7gBAAABAAAACAAAAAAHuQEAAAABAAAAAQAAAAQVQXBsb3Jpcy5CYXNlLlVJLkxhYmVsAwAAAAl6AgAAAboBAAA1AAAAAYX9///g////iWzDQkK4sUMBhP3//zz///8DAAAAAAAAAAAAAAAACX0CAAAAAAAACX4CAAAAAAABgf3//zP///8AAAAAAYD9//+F////8GuqQWY+YkEBf/3//+z///8ovKZC5hiyQ0zX3UE+JYFBXrrZPwm2AQAACgmDAgAACXICAAAJhQIAACADAAD/////AQEKCYUCAAABAAoBAbsBAAAkAAAACYYCAAAAAAAAAAAAAAG9AQAAJgAAAAmHAgAAAgAAAAIAAAAPwQEAAAEAAAAIAAAAAAfCAQAAAAEAAAABAAAABBVBcGxvcmlzLkJhc2UuVUkuTGFiZWwDAAAACYgCAAABwwEAADUAAAABd/3//+D///8wCBpDQrixQwF2/f//PP///wMAAAAAAAAAAAAAAAAJiwIAAAAAAAAJjAIAAAAAAAFz/f//M////wAAAAABcv3//4X////wa6pBZj5iQQFx/f//7P////F3DEPmGLJDTNfdQT4lgUFeutk/Cb8BAAAKCZECAAAJcgIAAAmTAgAAIAMAAP////8BAQoJkwIAAAEACgEBxAEAACQAAAAJhgIAAAAAAAAAAAAAAcYBAAAmAAAACZUCAAACAAAAAgAAAA/KAQAAAQAAAAgAAAAAB8sBAAAAAQAAAAEAAAAEFUFwbG9yaXMuQmFzZS5VSS5MYWJlbAMAAAAJlgIAAAHMAQAANQAAAAFp/f//4P///xpaUkNCuLFDAWj9//88////AwAAAAAAAAAAAAAAAAmZAgAAAAAAAAmaAgAAAAAAAWX9//8z////AAAAAAFk/f//hf////BrqkFmPmJBAWP9///s////cm1EQ+YYskNM191BPiWBQV662T8JyAEAAAoJnwIAAAlyAgAACaECAAAgAwAA/////wEBCgmhAgAAAQAKAQHNAQAAJAAAAAmGAgAAAAAAAAAAAAABzwEAACYAAAAJowIAAAIAAAACAAAAD9MBAAABAAAACAAAAAAH1AEAAAABAAAAAQAAAAQVQXBsb3Jpcy5CYXNlLlVJLkxhYmVsAwAAAAmkAgAAAdUBAAA1AAAAAVv9///g////A1aFQ0K4sUMBWv3//zz///8DAAAAAAAAAAAAAAAACacCAAAAAAAACagCAAAAAAABV/3//zP///8AAAAAAVb9//+F////8GuqQWY+YkEBVf3//+z////zYnxD5hiyQ0zX3UE+JYFBXrrZPwnRAQAACgmtAgAACXICAAAJrwIAACADAAD/////AQEKCa8CAAABAAoBAdYBAAAkAAAACYYCAAAAAAAAAAAAAAHYAQAAJgAAAAmxAgAAAgAAAAIAAAAP3AEAAAEAAAAIAAAAAAfdAQAAAAEAAAABAAAABBVBcGxvcmlzLkJhc2UuVUkuTGFiZWwDAAAACbICAAAB3gEAADUAAAABTf3//+D////4fqFDQrixQwFM/f//PP///wMAAAAAAAAAAAAAAAAJtQIAAAAAAAAJtgIAAAAAAAFJ/f//M////wAAAAABSP3//4X////wa6pBZj5iQQFH/f//7P///2i+mkPmGLJDTNfdQT4lgUFeutk/CdoBAAAKCbsCAAAJcgIAAAm9AgAAIAMAAP////8BAQoJvQIAAAEACgEB3wEAACQAAAAJhgIAAAAAAAAAAAAAAeEBAAAmAAAACb8CAAACAAAAAgAAAA/lAQAAAQAAAAgAAAAAB+YBAAAAAQAAAAEAAAAEFUFwbG9yaXMuQmFzZS5VSS5MYWJlbAMAAAAJwAIAAAHnAQAANQAAAAE//f//4P///+6nvUNCuLFDAT79//88////AwAAAAAAAAAAAAAAAAnDAgAAAAAAAAnEAgAAAAAAATv9//8z////AAAAAAE6/f//hf////BrqkFmPmJBATn9///s////Kbm2Q+YYskNM191BPiWBQV662T8J4wEAAAoJyQIAAAlyAgAACcsCAAAgAwAA/////wEBCgnLAgAAAQAKAQHoAQAAJAAAAAmGAgAAAAAAAAAAAAAB6gEAACYAAAAJzQIAAAIAAAACAAAAD+4BAAABAAAACAAAAAAH7wEAAAABAAAAAQAAAAQVQXBsb3Jpcy5CYXNlLlVJLkxhYmVsAwAAAAnOAgAAAfABAAA1AAAAATH9///g////49DZQ0K4sUMBMP3//zz///8DAAAAAAAAAAAAAAAACdECAAAAAAAACdICAAAAAAABLf3//zP///8AAAAAASz9//+F////8GuqQWY+YkEBK/3//+z////ps9JD5hiyQ0zX3UE+JYFBXrrZPwnsAQAACgnXAgAACXICAAAJ2QIAACADAAD/////AQEKCdkCAAABAAoBAfEBAAAkAAAACYYCAAAAAAAAAAAAAAHzAQAAJgAAAAnbAgAAAgAAAAIAAAAP9wEAAAEAAAAIAAAAAAf4AQAAAAEAAAABAAAABBVBcGxvcmlzLkJhc2UuVUkuTGFiZWwDAAAACdwCAAAB+QEAADUAAAABI/3//+D////Z+fVDQrixQwEi/f//PP///wMAAAAAAAAAAAAAAAAJ3wIAAAAAAAAJ4AIAAAAAAAEf/f//M////wAAAAABHv3//4X////wa6pBZj5iQQEd/f//7P///9dA70PmGLJDTNfdQT4lgUFeutk/CfUBAAAKCeUCAAAJcgIAAAnnAgAAIAMAAP////8BAQoJ5wIAAAEACgEB+gEAACQAAAAJ6AIAAAAAAAAAAAAAAfwBAAAmAAAACekCAAACAAAAAgAAAAX9AQ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yNywgQ3VsdHVyZT1uZXV0cmFsLCBQdWJsaWNLZXlUb2tlbj0xNmZjMTNhMjI2YzBlOTUxXV0dQXBsb3Jpcy5DaGFydC5DaGFydERhdGFTZXJpZXMCAAAAIUFwbG9yaXMuQ2hhcnQuQ29sdW1uT3JpZW50ZWRDaGFydAIAAACVAVN5c3RlbS5Db2xsZWN0aW9ucy5HZW5lcmljLkxpc3RgMVtbQXBsb3Jpcy5CYXNlLlVJLlZpc3VhbE9iamVjdCwgQXBsb3Jpcy5CYXNlLCBWZXJzaW9uPTQuMi4wLjE5MjcsIEN1bHR1cmU9bmV1dHJhbCwgUHVibGljS2V5VG9rZW49MTZmYzEzYTIyNmMwZTk1MV1dAgAAAAnqAgAACesCAAAKCewCAAAKCX4BAAAIBi05f6rI6W9ACgIAAAAJ7gIAAAnvAgAAAAAAAAAJ8AIAAAl+AQAACQEAAAAJ8wIAAAH+AQAA/QEAAAn0AgAACfUCAAAKCfYCAAAKCX4BAAAIBr8ldwkaHJNACgcAAAAJ+AIAAAn5AgAAAAAAAAAJ+gIAAAl+AQAACQEAAAAJ/QIAAAUAAgAAJ0FwbG9yaXMuQ2hhcnQuU3RhbmRhcmRNYWduaXR1ZGVQcm92aWRlcgQAAAASbU1hZ25pdHVkZUFic29sdXRlEW1NYWduaXR1ZGVQZXJjZW50Em1BYnNvbHV0ZVZhcmlhYmxlcxFtUGVyY2VudFZhcmlhYmxlcwAABwcICAgIAgAAAAAAAAAAAAAACf4CAAAJ/wIAAAUBAg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ZQXBsb3Jpcy5DaGFydC5Hcm93dGhBcnJvdwIAAAAhQXBsb3Jpcy5DaGFydC5Db2x1bW5PcmllbnRlZENoYXJ0AgAAAAgBCAgBCAgIAgAAAAmPAQAACQEAAAAAAAAAAAYCAwAAAS4DAAAABgMDAAABLAYEAwAAAS0GBQMAAAErAQAAAAAKCgYGAwAACk1NL2RkL3l5eXkAAAAACgAAAAAAAAAABQIC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lBcGxvcmlzLkNoYXJ0Lkdyb3d0aEFycm93AgAAACFBcGxvcmlzLkNoYXJ0LkNvbHVtbk9yaWVudGVkQ2hhcnQCAAAACAEICAEICAgCAAAACY8BAAAJAQAAAAAAAAAACQIDAAADAAAACQMDAAAJBAMAAAkFAwAAAQAAAAAKBg0DAAABJQkGAwAAAQAAAAoAAAAAAAAAAAEDAgAAMQAAAAHx/P//4P///xpaUkOUzIJDAfD8///g////2fn1Q980K0IJEQMAAAkSAwAAqAIAAP////8BAQoJEgMAAAEACgEFBAIAABtBcGxvcmlzLkJhc2UuVUkuRnJhbWVkTGFiZWwhAAAAC21MaW5lRm9ybWF0C21GaWxsRm9ybWF0CW1QZXJzRGF0YR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PTGFiZWwr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gQEAAAABAAEAAAABAQEAAEDAwECAAAAAAcCAAADAB9BcGxvcmlzLkJhc2UuT2JqZWN0cy5MaW5lRm9ybWF0AwAAAB9BcGxvcmlzLkJhc2UuT2JqZWN0cy5GaWxsRm9ybWF0AwAA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I3LCBDdWx0dXJlPW5ldXRyYWwsIFB1YmxpY0tleVRva2VuPTE2ZmMxM2EyMjZjMGU5NTFdXZYBU3lzdGVtLkNvbGxlY3Rpb25zLkdlbmVyaWMuTGlzdGAxW1tBcGxvcmlzLkJhc2UuT2JqZWN0cy5WYXJpYWJsZSwgQXBsb3Jpcy5CYXNlLCBWZXJzaW9uPTQuMi4wLjE5MjcsIEN1bHR1cmU9bmV1dHJhbCwgUHVibGljS2V5VG9rZW49MTZmYzEzYTIyNmMwZTk1MV1dCAgBAQgBAQ9TeXN0ZW0uSW50UHRyW10BAwAAAAkTAwAACRQDAAAJFQMAAAHq/P//4P///3OTr0MwMxhDAen8//88////AAAAAAAAAAAAAAAAAAkYAwAAAAAAAAkZAwAAAAAAAeb8//8z////AAAAAAHl/P//hf///ztNkUFmPmJBAeT8///s////hOCnQ4KQDUPTHv9BZQaqQQAAAAAGHQMAAAMzNyUKCR4DAAAJcgIAAAkVAwAANAMAAP////8BAQoJFQMAAAEACgEHBQIAAAABAAAAAQAAAAQVU3lzdGVtLkRyYXdpbmcuUG9pbnRGBAAAAAHf/P//4P///3OTr0MwMxhDBwYCAAAAAQAAAAEAAAAEF0FwbG9yaXMuQmFzZS5BbmNob3JNb2RlAwAAAAHe/P//PP///wAAAAABBwIAACQAAAAJIwMAAAIAAAACAAAAAQkCAAAmAAAACSQDAAACAAAAAgAAAAEKAgAA/QEAAAklAwAACSYDAAAKCScDAAAKCX4BAAAIBsHmig4x4mJACgAAAAAJKQMAAAkqAwAAAAAAAAAJKwMAAAl+AQAACQEAAAAJLgMAAAENAgAAAAIAAAAAAAAAAAAACS8DAAAJMAMAAAUOAg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ZQXBsb3Jpcy5DaGFydC5Hcm93dGhBcnJvdwIAAAAhQXBsb3Jpcy5DaGFydC5Db2x1bW5PcmllbnRlZENoYXJ0AgAAAAgBCAgBCAgIAgAAAAmQAQAACQEAAAAAAAAAAAlxAAAAAwAAAAlyAAAABjUDAAABLQY2AwAAASsBAAAAAAoKBjcDAAAKZGQvTU0veXl5eQAAAAAKAAAAAAAAAAAFDwI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GUFwbG9yaXMuQ2hhcnQuR3Jvd3RoQXJyb3cCAAAAIUFwbG9yaXMuQ2hhcnQuQ29sdW1uT3JpZW50ZWRDaGFydAIAAAAIAQgIAQgICAIAAAAJkAEAAAkBAAAAAAAAAAAJcQAAAAMAAAAJcgAAAAk1AwAACTYDAAABAAAAAAoGPgMAAAElCTcDAAABAAAACgAAAAAAAAAAARACAAAxAAAAAcD8///g////iWzDQjmVjkMBv/z//+D///8aWlJDlMyCQwlCAwAACUMDAACoAgAA/////wEBCglDAwAAAQAKAQERAgAABAIAAAlEAwAACUUDAAAJRgMAAAG5/P//4P///y8IGkPmsIhDAbj8//88////AAAAAAAAAAAAAAAAAAlJAwAAAAAAAAlKAwAAAAAAAbX8//8z////AAAAAAG0/P//hf///ztNkUFmPmJBAbP8///s////Oi8KQyZKg0PTHv9BZQaqQQAAAAAGTgMAAAMzMCUKCU8DAAAJcgIAAAlGAwAANAMAAP////8BAQoJRgMAAAEACgEHEgIAAAABAAAAAQAAAAQVU3lzdGVtLkRyYXdpbmcuUG9pbnRGBAAAAAGu/P//4P///y8IGkPmsIhDBxMCAAAAAQAAAAEAAAAEF0FwbG9yaXMuQmFzZS5BbmNob3JNb2RlAwAAAAGt/P//PP///wAAAAABFAIAACQAAAAJVAMAAAIAAAACAAAAARYCAAAmAAAACVUDAAACAAAAAgAAAAEXAgAAMQAAAAGq/P//4P///54ai0JCOK9DAan8///g////nhqDQkI4r0MJWAMAAAlZAwAAzAEAAP////8BAQoJWQMAAAEACgEBGAIAADUAAAABpvz//+D///+eGoBCQjivQwGl/P//PP///wIAAAAAAAAAAAAAAAAJXAMAAAAAAAAJXQMAAAAAAAGi/P//M////wAAAAABofz//4X////wa6pAZj5iQQGg/P//7P///wXWX0JTP6tDl74XQT4lgUFeutk/BmEDAAABMAoJYgMAAAlyAgAACWQDAADQAgAA/////wEBCglkAwAAAQAKAQEcAgAAJAAAAAllAwAAAAAAAAAAAAABHwIAACYAAAAJZgMAAAIAAAACAAAAASACAAAxAAAAAZn8///g////nhqLQjqcmEMBmPz//+D///+eGoNCOpyYQwlpAwAACWoDAADMAQAA/////wEBCglqAwAAAQAKAQEhAgAANQAAAAGV/P//4P///54agEI6nJhDAZT8//88////AgAAAAAAAAAAAAAAAAltAwAAAAAAAAluAwAAAAAAAZH8//8z////AAAAAAGQ/P//hf///+ihf0FmPmJBAY/8///s////uycyQjb8lENML61BPiWBQV662T8GcgMAAAMyMDAKCXMDAAAJcgIAAAl1AwAA0AIAAP////8BAQoJdQMAAAEACgEBJQIAACQAAAAJZQMAAAAAAAAAAAAAASgCAAAmAAAACXcDAAACAAAAAgAAAAEpAgAAMQAAAAGI/P//4P///54ai0IxAIJDAYf8///g////nhqDQjEAgkMJegMAAAl7AwAAzAEAAP////8BAQoJewMAAAEACgEBKgIAADUAAAABhPz//+D///+eGoBCMQCCQwGD/P//PP///wIAAAAAAAAAAAAAAAAJfgMAAAAAAAAJfwMAAAAAAAGA/P//M////wAAAAABf/z//4X////ooX9BZj5iQQF+/P//7P///7snMkLwTXxDTC+tQT4lgUFeutk/BoMDAAADNDAwCgmEAwAACXICAAAJhgMAANACAAD/////AQEKCYYDAAABAAoBAS4CAAAkAAAACWUDAAAAAAAAAAAAAAExAgAAJgAAAAmIAwAAAgAAAAIAAAABMgIAADEAAAABd/z//+D///+eGotCUchWQwF2/P//4P///54ag0JRyFZDCYsDAAAJjAMAAMwBAAD/////AQEKCYwDAAABAAoBATMCAAA1AAAAAXP8///g////nhqAQlHIVkMBcvz//zz///8CAAAAAAAAAAAAAAAACY8DAAAAAAAACZADAAAAAAABb/z//zP///8AAAAAAW78//+F////6KF/QWY+YkEBbfz//+z///+7JzJCdKNOQ0wvrUE+JYFBXrrZPwaUAwAAAzYwMAoJlQMAAAlyAgAACZcDAADQAgAA/////wEBCgmXAwAAAQAKAQE3AgAAJAAAAAllAwAAAAAAAAAAAAABOgIAACYAAAAJmQMAAAIAAAACAAAAATsCAAAxAAAAAWb8///g////nhqLQkCQKUMBZfz//+D///+eGoNCQJApQwmcAwAACZ0DAADMAQAA/////wEBCgmdAwAAAQAKAQE8AgAANQAAAAFi/P//4P///54agEJAkClDAWH8//88////AgAAAAAAAAAAAAAAAAmgAwAAAAAAAAmhAwAAAAAAAV78//8z////AAAAAAFd/P//hf///+ihf0FmPmJBAVz8///s////uycyQjodIkNML61BPiWBQV662T8GpQMAAAM4MDAKCaYDAAAJcgIAAAmoAwAA0AIAAP////8BAQoJqAMAAAEACgEBQAIAACQAAAAJZQMAAAAAAAAAAAAAAUMCAAAmAAAACaoDAAACAAAAAgAAAAFEAgAAMQAAAAFV/P//4P///54ai0JesPhCAVT8///g////nhqDQl6w+EIJrQMAAAmuAwAAzAEAAP////8BAQoJrgMAAAEACgEBRQIAADUAAAABUfz//+D///+eGoBCXrD4QgFQ/P//PP///wIAAAAAAAAAAAAAAAAJsQMAAAAAAAAJsgMAAAAAAAFN/P//M////wAAAAABTPz//4X///9eZb9BZj5iQQFL/P//7P///0ycDUJ75ehCS8v1QT4lgUFeutk/BrYDAAAFMSwwMDAKCbcDAAAJcgIAAAm5AwAA0AIAAP////8BAQoJuQMAAAEACgEBSQIAACQAAAAJZQMAAAAAAAAAAAAAAUwCAAAmAAAACbsDAAACAAAAAgAAAAFNAgAAMQAAAAFE/P//4P///54ai0I8QJ5CAUP8///g////nhqDQjxAnkIJvgMAAAm/AwAAzAEAAP////8BAQoJvwMAAAEACgEBTgIAADUAAAABQPz//+D///+eGoBCPECeQgE//P//PP///wIAAAAAAAAAAAAAAAAJwgMAAAAAAAAJwwMAAAAAAAE8/P//M////wAAAAABO/z//4X///9eZb9BZj5iQQE6/P//7P///0ycDUKCkI1CS8v1QT4lgUFeutk/BscDAAAFMSwyMDAKCcgDAAAJcgIAAAnKAwAA0AIAAP////8BAQoJygMAAAEACgEBUgIAACQAAAAJZQMAAAAAAAAAAAAAAVUCAAAmAAAACcwDAAACAAAAAgAAAAFWAgAAMQAAAAEz/P//4P///54ai0I0oAdCATL8///g////nhqDQjSgB0IJzwMAAAnQAwAAzAEAAP////8BAQoJ0AMAAAEACgEBVwIAADUAAAABL/z//+D///+eGoBCNKAHQgEu/P//PP///wIAAAAAAAAAAAAAAAAJ0wMAAAAAAAAJ1AMAAAAAAAEr/P//M////wAAAAABKvz//4X///9eZb9BZj5iQQEp/P//7P///0ycDUI9ENJBS8v1QT4lgUFeutk/BtgDAAAFMSw0MDAKCdkDAAAJcgIAAAnbAwAA0AIAAP////8BAQoJ2wMAAAEACgEBWwIAACQAAAAJ6AIAAAAAAAAAAAAAAV4CAAAmAAAACd0DAAACAAAAAgAAAARfAgAAmAFTeXN0ZW0uQ29sbGVjdGlvbnMuR2VuZXJpYy5MaXN0YDFbW0FwbG9yaXMuQ2hhcnQuQ2hhcnREYXRhRWxlbWVudCwgQXBsb3Jpcy5DaGFydCwgVmVyc2lvbj00LjIuMC4xOTI3LCBDdWx0dXJlPW5ldXRyYWwsIFB1YmxpY0tleVRva2VuPTE2ZmMxM2EyMjZjMGU5NTFdXQMAAAAGX2l0ZW1zBV9zaXplCF92ZXJzaW9uBAAAIEFwbG9yaXMuQ2hhcnQuQ2hhcnREYXRhRWxlbWVudFtdAgAAAAgICd4DAAAIAAAACgAAAAFgAgAAJAAAAAnfAwAACAAAAAoAAAABYwIAACYAAAAJ4AMAAAAAAAAAAAAAAWgCAAB+AAAACeEDAAAJ4gMAAAVr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fgEAAAoAAAAAAEBBCX8AAAAJgAAAAAnmAwAAAQAJ5wMAAAFsAgAAgQAAAAoKAAAAAP///wAOAAAAAAEBcQIAANEAAAAJ6AMAAAEAAAABAAAAB3gCAAAAAQAAAAQAAAAEH0FwbG9yaXMuQmFzZS5PYmplY3RzLkRhdGFPYmplY3QDAAAACa0BAAANAwd5AgAAAAEAAAAEAAAABBxBcGxvcmlzLkJhc2UuVUkuVmlzdWFsT2JqZWN0AwAAAAmvAQAADQMBegIAADUAAAABFfz//+D///+JbMNCUKScQwEU/P//PP///wEAAAAAAAAAAAAAAAAJ7QMAAAAAAAAJ7gMAAAAAAAER/P//M////wAAAAABEPz//4X////ooX9BZj5iQQEP/P//7P///02WrUI2/JRDTC+tQT4lgUFeutk/BvIDAAADMTUxCgnzAwAACXICAAAJ9QMAADQDAAD/////AQEKCfUDAAABAAoBAX0CAAAiAAAACgoAAAAAAEBBCX8AAAAJgAAAAAn4AwAAAAAJ+QMAAAF+AgAAgQAAAAoKAAAAAP///wAOAAAAAAEBgwIAANEAAAAJ+gMAAAEAAAABAAAAAYUCAAB+AAAACfsDAAAJ/AMAAAeGAgAAAAEAAAAAAAAABB9BcGxvcmlzLkJhc2UuT2JqZWN0cy5EYXRhT2JqZWN0AwAAAAeHAgAAAAEAAAAEAAAABBxBcGxvcmlzLkJhc2UuVUkuVmlzdWFsT2JqZWN0AwAAAAm6AQAACXoCAAANAgGIAgAANQAAAAEB/P//4P///zAIGkO6hJdDAQD8//88////AQAAAAAAAAAAAAAAAAkBBAAAAAAAAAkCBAAAAAAAAf37//8z////AAAAAAH8+///hf///+ihf0FmPmJBAfv7///s////qMAOQwjZj0NML61BPiWBQV662T8GBgQAAAMxOTYKCQcEAAAJcgIAAAkJBAAANAMAAP////8BAQoJCQQAAAEACgEBiwIAACIAAAAKCgAAAAAAQEEJfwAAAAmAAAAACQwEAAAAAAkNBAAAAYwCAACBAAAACgoAAAAA////AA4AAAAAAQGRAgAA0QAAAAkOBAAAAQAAAAEAAAABkwIAAH4AAAAJDwQAAAkQBAAAB5UCAAAAAQAAAAQAAAAEHEFwbG9yaXMuQmFzZS5VSS5WaXN1YWxPYmplY3QDAAAACcMBAAAJiAIAAA0CAZYCAAA1AAAAAe37///g////GlpSQ6vbkEMB7Pv//zz///8BAAAAAAAAAAAAAAAACRUEAAAAAAAACRYEAAAAAAAB6fv//zP///8AAAAAAej7//+F////6KF/QWY+YkEB5/v//+z///+E2kdDdv+IQ0wvrUE+JYFBXrrZPwYaBAAAAzI1NQoJGwQAAAlyAgAACR0EAAA0AwAA/////wEBCgkdBAAAAQAKAQGZAgAAIgAAAAoKAAAAAABAQQl/AAAACYAAAAAJIAQAAAAACSEEAAABmgIAAIEAAAAKCgAAAAD///8ADgAAAAABAZ8CAADRAAAACSIEAAABAAAAAQAAAAGhAgAAfgAAAAkjBAAACSQEAAAHowIAAAABAAAABAAAAAQcQXBsb3Jpcy5CYXNlLlVJLlZpc3VhbE9iamVjdAMAAAAJzAEAAAmWAgAADQIBpAIAADUAAAAB2fv//+D///8DVoVDAeSFQwHY+///PP///wEAAAAAAAAAAAAAAAAJKQQAAAAAAAAJKgQAAAAAAAHV+///M////wAAAAAB1Pv//4X////ooX9BZj5iQQHT+///7P///wbQf0PwTXxDTC+tQT4lgUFeutk/Bi4EAAADMzUyCgkvBAAACXICAAAJMQQAADQDAAD/////AQEKCTEEAAABAAoBAacCAAAiAAAACgoAAAAAAEBBCX8AAAAJgAAAAAk0BAAAAAAJNQQAAAGoAgAAgQAAAAoKAAAAAP///wAOAAAAAAEBrQIAANEAAAAJNgQAAAEAAAABAAAAAa8CAAB+AAAACTcEAAAJOAQAAAexAgAAAAEAAAAEAAAABBxBcGxvcmlzLkJhc2UuVUkuVmlzdWFsT2JqZWN0AwAAAAnVAQAACaQCAAANAgGyAgAANQAAAAHF+///4P////h+oUPagm1DAcT7//88////AQAAAAAAAAAAAAAAAAk9BAAAAAAAAAk+BAAAAAAAAcH7//8z////AAAAAAHA+///hf///+ihf0FmPmJBAb/7///s////w+KbQ9x6XUNML61BPiWBQV662T8GQgQAAAM0ODYKCUMEAAAJcgIAAAlFBAAANAMAAP////8BAQoJRQQAAAEACgEBtQIAACIAAAAKCgAAAAAAQEEJfwAAAAmAAAAACUgEAAAAAAlJBAAAAbYCAACBAAAACgoAAAAA////AA4AAAAAAQG7AgAA0QAAAAlKBAAAAQAAAAEAAAABvQIAAH4AAAAJSwQAAAlMBAAAB78CAAAAAQAAAAQAAAAEHEFwbG9yaXMuQmFzZS5VSS5WaXN1YWxPYmplY3QDAAAACd4BAAAJsgIAAA0CAcACAAA1AAAAAbH7///g////7qe9Q9rvRUMBsPv//zz///8BAAAAAAAAAAAAAAAACVEEAAAAAAAACVIEAAAAAAABrfv//zP///8AAAAAAaz7//+F////6KF/QWY+YkEBq/v//+z///+yb7hDr4U1Q0wvrUE+JYFBXrrZPwZWBAAAAzY2MQoJVwQAAAlyAgAACVkEAAA0AwAA/////wEBCglZBAAAAQAKAQHDAgAAIgAAAAoKAAAAAABAQQl/AAAACYAAAAAJXAQAAAAACV0EAAABxAIAAIEAAAAKCgAAAAD///8ADgAAAAABAckCAADRAAAACV4EAAABAAAAAQAAAAHLAgAAfgAAAAlfBAAACWAEAAAHzQIAAAABAAAABAAAAAQcQXBsb3Jpcy5CYXNlLlVJLlZpc3VhbE9iamVjdAMAAAAJ5wEAAAnAAgAADQIBzgIAADUAAAABnfv//+D////j0NlDsh0QQwGc+///PP///wEAAAAAAAAAAAAAAAAJZQQAAAAAAAAJZgQAAAAAAAGZ+///M////wAAAAABmPv//4X////ooX9BZj5iQQGX+///7P///3Jq1EO6uv9CTC+tQT4lgUFeutk/BmoEAAADODk5CglrBAAACXICAAAJbQQAADQDAAD/////AQEKCW0EAAABAAoBAdECAAAiAAAACgoAAAAAAEBBCX8AAAAJgAAAAAlwBAAAAAAJcQQAAAHSAgAAgQAAAAoKAAAAAP///wAOAAAAAAEB1wIAANEAAAAJcgQAAAEAAAABAAAAAdkCAAB+AAAACXMEAAAJdAQAAAfbAgAAAAEAAAAEAAAABBxBcGxvcmlzLkJhc2UuVUkuVmlzdWFsT2JqZWN0AwAAAAnwAQAACc4CAAANAgHcAgAANQAAAAGJ+///4P///9n59UPM1o1CAYj7//88////AQAAAAAAAAAAAAAAAAl5BAAAAAAAAAl6BAAAAAAAAYX7//8z////AAAAAAGE+///hf///wAYwEFmPmJBAYP7///s////fBzuQ1YyW0JMl/ZBPiWBQV662T8GfgQAAAUxLDIyMwoJfwQAAAlyAgAACYEEAAA0AwAA/////wEBCgmBBAAAAQAKAQHfAgAAIgAAAAoKAAAAAABAQQl/AAAACYAAAAAJhAQAAAAACYUEAAAB4AIAAIEAAAAKCgAAAAD///8ADgAAAAABAeUCAADRAAAACYYEAAABAAAAAQAAAAHnAgAAfgAAAAmHBAAACYgEAAAH6AIAAAABAAAAAAAAAAQfQXBsb3Jpcy5CYXNlLk9iamVjdHMuRGF0YU9iamVjdAMAAAAH6QIAAAABAAAABAAAAAQcQXBsb3Jpcy5CYXNlLlVJLlZpc3VhbE9iamVjdAMAAAAJ+QEAAAncAgAADQIB6gIAAK8BAAAKWAIAAAF1+///nP3//wIAAAABdPv//5v9//8BAAAAAXP7///s////gcBDQ6vbk0OQmelBuOROQgFy+///mf3//wAAAAAAAKBAAAmPBAAAAXD7///g////GlpSQ/bJoEMBb/v//zz///8AAAAAAAAAAAAAAAAACZIEAAAAAAAACZMEAAAAAAABbPv//zP///8AAAAAAWv7//+F////9KK8QTPzpkEBavv//+z///8AAAAAAAAAAAAAAAAAAAAAXrrZPwaXBAAAAzI1NQoJmAQAAAlyAgAACY8EAAA0AwAA/////wABCgmPBAAAAQAKAQHrAgAAGwAAAAFl+///4P///4HAQENCOK9DAWT7///g////s/NjQ6tbkkMJnQQAAAmeBAAAAAAAAAoBYfv//4X///8AAAAAAAAAAAFg+///hf///wAAAAAAAAAAAAAAAAFf+///7P///wAAAAAAAAAAAAAAAAAAAAAJogQAAKQBAAD/////AQEKCaIEAAABAAoBB+wCAAAAAQAAAAIAAAAEGkFwbG9yaXMuQmFzZS5VSS5WaXN1YWxMaW5lAwAAAA0CB+4CAAAAAQAAAAMAAAAEFVN5c3RlbS5EcmF3aW5nLlBvaW50RgQAAAABXfv//+D///8aWlJD9smgQwFc+///4P///4HAPUP2yaBDAVv7///g////s/NmQ/bJoEMH7wIAAAABAAAAAwAAAAQXQXBsb3Jpcy5CYXNlLkFuY2hvck1vZGUDAAAAAVr7//88////AAAAAAFZ+///PP///wIAAAABWPv//zz///8EAAAAAfACAAAkAAAACYYCAAAAAAAAAAAAAAHzAgAAJgAAAAmqBAAAAgAAAAIAAAAB9AIAAK8BAAAKWAIAAAFV+///nP3//wIAAAABVPv//5v9//8BAAAAAVP7///s////DK3uQ8zWmUKgmelBj0KHQwFS+///mf3//wAAAAAAAKBAAAmvBAAAAVD7///g////2fn1Q/UtVEMBT/v//zz///8AAAAAAAAAAAAAAAAACbIEAAAAAAAACbMEAAAAAAABTPv//zP///8AAAAAAUv7//+F////AAAAAAAAAAABSvv//+z///8AAAAAAAAAAAAAAAAAAAAAAAAAAAa3BAAABTEsMjIzCgm4BAAACXICAAAJrwQAADQDAAD/////AAEKCa8EAAABAAoBAfUCAAAbAAAAAUX7///g////DC3tQ0I4r0MBRPv//+D///+mxv5DzNaTQgm9BAAACb4EAAAAAAAACgFB+///hf///wAAAAAAAAAAAUD7//+F////AAAAAAAAAAAAAAAAAT/7///s////AAAAAAAAAAAAAAAAAAAAAAnCBAAApAEAAP////8BAQoJwgQAAAEACgEH9gIAAAABAAAAAgAAAAQaQXBsb3Jpcy5CYXNlLlVJLlZpc3VhbExpbmUDAAAADQIH+AIAAAABAAAAAwAAAAQVU3lzdGVtLkRyYXdpbmcuUG9pbnRGBAAAAAE9+///4P///9n59UP1LVRDATz7///g////DK3rQ/UtVEMBO/v//+D///9TIwBE9S1UQwf5AgAAAAEAAAADAAAABBdBcGxvcmlzLkJhc2UuQW5jaG9yTW9kZQMAAAABOvv//zz///8AAAAAATn7//88////AgAAAAE4+///PP///wQAAAAB+gIAACQAAAAJ6AIAAAAAAAAAAAAAAf0CAAAmAAAACcoEAAACAAAAAgAAAA/+AgAAAQAAAAgBAAAAD/8CAAADAAAACAIAAAADAAAABAAAAAERAwAAeQAAAAoKAAAAAEAJywQAAAnMBAAAAQAAAP7///8CAAAAAQAAAAIAAAACAAAAAgAAAAIAAAAAAAABEgMAAH4AAAAJzQQAAAnOBAAAARMDAAB5AAAACgoAAABAPwnPBAAACdAEAAABAAAA/v///wAAAAABAAAAAAAAAAAAAAABAAAAAAAAAAAAAAEUAwAAegAAAAoKCdEEAAAJ0gQAAAEAAAAAAAAAAAAAAP////8AAAEVAwAAfgAAAAnTBAAACdQEAAABGAMAACIAAAAKCgAAAAAAQEEJfwAAAAmAAAAACdcEAAAAAAnYBAAAARkDAACBAAAACgoBAAAAAAAAAP////8AAQEeAwAA0QAAAAnZBAAAAQAAAAMAAAAHIwMAAAABAAAABAAAAAQfQXBsb3Jpcy5CYXNlLk9iamVjdHMuRGF0YU9iamVjdAMAAAAJAQIAAAkCAgAADQIHJAMAAAABAAAABAAAAAQcQXBsb3Jpcy5CYXNlLlVJLlZpc3VhbE9iamVjdAMAAAAJAwIAAAkEAgAADQIBJQMAAK8BAAAKWAIAAAEi+///nP3//wIAAAABIfv//5v9//8BAAAAASD7///s////VjmmQlCkn0OYmelBID/hQQEf+///mf3//wAAAAAAAKBAAAniBAAAAR37///g////iWzDQkmupkMBHPv//zz///8AAAAAAAAAAAAAAAAACeUEAAAAAAAACeYEAAAAAAABGfv//zP///8AAAAAARj7//+F////9KK8QTPzpkEBF/v//+z///8AAAAAAAAAAAAAAAAAAAAAXrrZPwbqBAAAAzE1MQoJ6wQAAAlyAgAACeIEAAA0AwAA/////wABCgniBAAAAQAKAQEmAwAAGwAAAAES+///4P///1Y5oEJCOK9DARH7///g////vJ/mQlAknkMJ8AQAAAnxBAAAAAAAAAoBDvv//4X///8AAAAAAAAAAAEN+///hf///wAAAAAAAAAAAAAAAAEM+///7P///wAAAAAAAAAAAAAAAAAAAAAJ9QQAAKQBAAD/////AQEKCfUEAAABAAoBBycDAAAAAQAAAAIAAAAEGkFwbG9yaXMuQmFzZS5VSS5WaXN1YWxMaW5lAwAAAA0CBykDAAAAAQAAAAMAAAAEFVN5c3RlbS5EcmF3aW5nLlBvaW50RgQAAAABCvv//+D///+JbMNCSa6mQwEJ+///4P///1Y5mkJJrqZDAQj7///g////vJ/sQkmupkMHKgMAAAABAAAAAwAAAAQXQXBsb3Jpcy5CYXNlLkFuY2hvck1vZGUDAAAAAQf7//88////AAAAAAEG+///PP///wIAAAABBfv//zz///8EAAAAASsDAAAkAAAACYYCAAAAAAAAAAAAAAEuAwAAJgAAAAn9BAAAAgAAAAIAAAAPLwMAAAEAAAAIAQAAAA8wAwAAAwAAAAgCAAAAAwAAAAQAAAABQgMAAHkAAAAKCgAAAABACf4EAAAJ/wQAAAEAAAD+////AgAAAAEAAAACAAAAAgAAAAIAAAACAAAAAAAAAUMDAAB+AAAACQAFAAAJAQUAAAFEAwAAeQAAAAoKAAAAQD8JAgUAAAkDBQAAAQAAAP7///8AAAAAAQAAAAAAAAAAAAAAAQAAAAAAAAAAAAABRQMAAHoAAAAKCgkEBQAACQUFAAABAAAAAAAAAAAAAAD/////AAABRgMAAH4AAAAJBgUAAAkHBQAAAUkDAAAiAAAACgoAAAAAAEBBCX8AAAAJgAAAAAkKBQAAAAAJCwUAAAFKAwAAgQAAAAoKAQAAAAAAAAD/////AAEBTwMAANEAAAAJDAUAAAEAAAADAAAAB1QDAAAAAQAAAAQAAAAEH0FwbG9yaXMuQmFzZS5PYmplY3RzLkRhdGFPYmplY3QDAAAACQ4CAAAJDwIAAA0CB1UDAAAAAQAAAAQAAAAEHEFwbG9yaXMuQmFzZS5VSS5WaXN1YWxPYmplY3QDAAAACRACAAAJEQIAAA0CAVgDAAB5AAAACgoAAABAPwkRBQAACRIFAAABAAAA/v///wAAAAABAAAAAAAAAAAAAAABAAAAAAAAAAAAAAFZAwAAfgAAAAkTBQAACRQFAAABXAMAACIAAAAKCgAAAAAAQEEJfwAAAAmAAAAACRcFAAAAAAkYBQAAAV0DAACBAAAACgoAAAAA////AA4AAAAAAQFiAwAA0QAAAAkZBQAAAQAAAAEAAAABZAMAAH4AAAAJGgUAAAkbBQAAB2UDAAAAAQAAAAAAAAAEH0FwbG9yaXMuQmFzZS5PYmplY3RzLkRhdGFPYmplY3QDAAAAB2YDAAAAAQAAAAQAAAAEHEFwbG9yaXMuQmFzZS5VSS5WaXN1YWxPYmplY3QDAAAACRcCAAAJGAIAAA0CAWkDAAB5AAAACgoAAABAPwkeBQAACR8FAAABAAAA/v///wAAAAABAAAAAAAAAAAAAAABAAAAAAAAAAAAAAFqAwAAfgAAAAkgBQAACSEFAAABbQMAACIAAAAKCgAAAAAAQEEJfwAAAAmAAAAACSQFAAAAAAklBQAAAW4DAACBAAAACgoAAAAA////AA4AAAAAAQFzAwAA0QAAAAkmBQAAAQAAAAMAAAABdQMAAH4AAAAJJwUAAAkoBQAAB3cDAAAAAQAAAAQAAAAEHEFwbG9yaXMuQmFzZS5VSS5WaXN1YWxPYmplY3QDAAAACSACAAAJIQIAAA0CAXoDAAB5AAAACgoAAABAPwkrBQAACSwFAAABAAAA/v///wAAAAABAAAAAAAAAAAAAAABAAAAAAAAAAAAAAF7AwAAfgAAAAktBQAACS4FAAABfgMAACIAAAAKCgAAAAAAQEEJfwAAAAmAAAAACTEFAAAAAAkyBQAAAX8DAACBAAAACgoAAAAA////AA4AAAAAAQGEAwAA0QAAAAkzBQAAAQAAAAMAAAABhgMAAH4AAAAJNAUAAAk1BQAAB4gDAAAAAQAAAAQAAAAEHEFwbG9yaXMuQmFzZS5VSS5WaXN1YWxPYmplY3QDAAAACSkCAAAJKgIAAA0CAYsDAAB5AAAACgoAAABAPwk4BQAACTkFAAABAAAA/v///wAAAAABAAAAAAAAAAAAAAABAAAAAAAAAAAAAAGMAwAAfgAAAAk6BQAACTsFAAABjwMAACIAAAAKCgAAAAAAQEEJfwAAAAmAAAAACT4FAAAAAAk/BQAAAZADAACBAAAACgoAAAAA////AA4AAAAAAQGVAwAA0QAAAAlABQAAAQAAAAMAAAABlwMAAH4AAAAJQQUAAAlCBQAAB5kDAAAAAQAAAAQAAAAEHEFwbG9yaXMuQmFzZS5VSS5WaXN1YWxPYmplY3QDAAAACTICAAAJMwIAAA0CAZwDAAB5AAAACgoAAABAPwlFBQAACUYFAAABAAAA/v///wAAAAABAAAAAAAAAAAAAAABAAAAAAAAAAAAAAGdAwAAfgAAAAlHBQAACUgFAAABoAMAACIAAAAKCgAAAAAAQEEJfwAAAAmAAAAACUsFAAAAAAlMBQAAAaEDAACBAAAACgoAAAAA////AA4AAAAAAQGmAwAA0QAAAAlNBQAAAQAAAAMAAAABqAMAAH4AAAAJTgUAAAlPBQAAB6oDAAAAAQAAAAQAAAAEHEFwbG9yaXMuQmFzZS5VSS5WaXN1YWxPYmplY3QDAAAACTsCAAAJPAIAAA0CAa0DAAB5AAAACgoAAABAPwlSBQAACVMFAAABAAAA/v///wAAAAABAAAAAAAAAAAAAAABAAAAAAAAAAAAAAGuAwAAfgAAAAlUBQAACVUFAAABsQMAACIAAAAKCgAAAAAAQEEJfwAAAAmAAAAACVgFAAAAAAlZBQAAAbIDAACBAAAACgoAAAAA////AA4AAAAAAQG3AwAA0QAAAAlaBQAAAQAAAAMAAAABuQMAAH4AAAAJWwUAAAlcBQAAB7sDAAAAAQAAAAQAAAAEHEFwbG9yaXMuQmFzZS5VSS5WaXN1YWxPYmplY3QDAAAACUQCAAAJRQIAAA0CAb4DAAB5AAAACgoAAABAPwlfBQAACWAFAAABAAAA/v///wAAAAABAAAAAAAAAAAAAAABAAAAAAAAAAAAAAG/AwAAfgAAAAlhBQAACWIFAAABwgMAACIAAAAKCgAAAAAAQEEJfwAAAAmAAAAACWUFAAAAAAlmBQAAAcMDAACBAAAACgoAAAAA////AA4AAAAAAQHIAwAA0QAAAAlnBQAAAQAAAAMAAAABygMAAH4AAAAJaAUAAAlpBQAAB8wDAAAAAQAAAAQAAAAEHEFwbG9yaXMuQmFzZS5VSS5WaXN1YWxPYmplY3QDAAAACU0CAAAJTgIAAA0CAc8DAAB5AAAACgoAAABAPwlsBQAACW0FAAABAAAA/v///wAAAAABAAAAAAAAAAAAAAABAAAAAAAAAAAAAAHQAwAAfgAAAAluBQAACW8FAAAB0wMAACIAAAAKCgAAAAAAQEEJfwAAAAmAAAAACXIFAAAAAAlzBQAAAdQDAACBAAAACgoAAAAA////AA4AAAAAAQHZAwAA0QAAAAl0BQAAAQAAAAMAAAAB2wMAAH4AAAAJdQUAAAl2BQAAB90DAAAAAQAAAAQAAAAEHEFwbG9yaXMuQmFzZS5VSS5WaXN1YWxPYmplY3QDAAAACVYCAAAJVwIAAA0CB94DAAAAAQAAABAAAAAEHkFwbG9yaXMuQ2hhcnQuQ2hhcnREYXRhRWxlbWVudAIAAAAJCgIAAAl6BQAACf0BAAAJfAUAAAl9BQAACX4FAAAJfwUAAAn+AQAADQgH3wMAAAABAAAAEAAAAAQfQXBsb3Jpcy5CYXNlLk9iamVjdHMuRGF0YU9iamVjdAMAAAAJCgIAAAl6BQAACf0BAAAJfAUAAAl9BQAACX4FAAAJfwUAAAn+AQAADQgH4AMAAAABAAAAAAAAAAQcQXBsb3Jpcy5CYXNlLlVJLlZpc3VhbE9iamVjdAMAAAAP4QMAAAEAAAAIFAAAAAfiAwAAAAEAAAABAAAAAw1TeXN0ZW0uSW50UHRyAXf6//9t/v//AAAAAAAAAAAB5gMAAIEAAAAKCgAAAAAtMEEADQAAAAABAecDAACBAAAACgoBAAAAAAAAAP////8AAQfoAwAAAAEAAAAEAAAABB1BcGxvcmlzLkJhc2UuT2JqZWN0cy5WYXJpYWJsZQMAAAAFdvr//x1BcGxvcmlzLkJhc2UuT2JqZWN0cy5WYXJpYWJsZQIAAAAGTnVtYmVyCFBvc2l0aW9uAAAICAMAAAABAAAAAAAAAAF1+v//dvr//wAAAAAAAAAAAXT6//92+v//AAAAAAAAAAABc/r//3b6//8AAAAAAAAAAAHtAwAAIgAAAAoKAQAAAABAQQl/AAAACYAAAAAJkAUAAAAACZEFAAAB7gMAAIEAAAAKCgAAAAD///8ADgAAAAABAfMDAADRAAAACZIFAAABAAAAAwAAAAH1AwAAfgAAAAmTBQAACZQFAAAB+AMAAIEAAAAKCgAAAAAtMEEADQAAAAAAAfkDAACBAAAACgoAAAAALTBBAA0AAAAAAQf6AwAAAAEAAAAEAAAABB1BcGxvcmlzLkJhc2UuT2JqZWN0cy5WYXJpYWJsZQMAAAABa/r//3b6//8BAAAAAAAAAAFq+v//dvr//wAAAAAAAAAAAWn6//92+v//AAAAAAAAAAABaPr//3b6//8AAAAAAAAAAA/7AwAAAQAAAAgPAAAAB/wDAAAAAQAAAAEAAAADDVN5c3RlbS5JbnRQdHIBZ/r//23+//8AAAAAAAAAAAEBBAAAIgAAAAoKAQAAAABAQQl/AAAACYAAAAAJnAUAAAAACZ0FAAABAgQAAIEAAAAKCgAAAAD///8ADgAAAAABAQcEAADRAAAACZ4FAAABAAAAAwAAAAEJBAAAfgAAAAmfBQAACaAFAAABDAQAAIEAAAAKCgAAAAAtMEEADQAAAAAAAQ0EAACBAAAACgoAAAAALTBBAA0AAAAAAQcOBAAAAAEAAAAEAAAABB1BcGxvcmlzLkJhc2UuT2JqZWN0cy5WYXJpYWJsZQMAAAABX/r//3b6//8BAAAAAAAAAAFe+v//dvr//wAAAAAAAAAAAV36//92+v//AAAAAAAAAAABXPr//3b6//8AAAAAAAAAAA8PBAAAAQAAAAgOAAAABxAEAAAAAQAAAAEAAAADDVN5c3RlbS5JbnRQdHIBW/r//23+//8AAAAAAAAAAAEVBAAAIgAAAAoKAQAAAABAQQl/AAAACYAAAAAJqAUAAAAACakFAAABFgQAAIEAAAAKCgAAAAD///8ADgAAAAABARsEAADRAAAACaoFAAABAAAAAwAAAAEdBAAAfgAAAAmrBQAACawFAAABIAQAAIEAAAAKCgAAAAAtMEEADQAAAAAAASEEAACBAAAACgoAAAAALTBBAA0AAAAAAQciBAAAAAEAAAAEAAAABB1BcGxvcmlzLkJhc2UuT2JqZWN0cy5WYXJpYWJsZQMAAAABU/r//3b6//8BAAAAAAAAAAFS+v//dvr//wAAAAAAAAAAAVH6//92+v//AAAAAAAAAAABUPr//3b6//8AAAAAAAAAAA8jBAAAAQAAAAgSAAAAByQEAAAAAQAAAAEAAAADDVN5c3RlbS5JbnRQdHIBT/r//23+//8AAAAAAAAAAAEpBAAAIgAAAAoKAQAAAABAQQl/AAAACYAAAAAJtAUAAAAACbUFAAABKgQAAIEAAAAKCgAAAAD///8ADgAAAAABAS8EAADRAAAACbYFAAABAAAAAwAAAAExBAAAfgAAAAm3BQAACbgFAAABNAQAAIEAAAAKCgAAAAAtMEEADQAAAAAAATUEAACBAAAACgoAAAAALTBBAA0AAAAAAQc2BAAAAAEAAAAEAAAABB1BcGxvcmlzLkJhc2UuT2JqZWN0cy5WYXJpYWJsZQMAAAABR/r//3b6//8BAAAAAAAAAAFG+v//dvr//wAAAAAAAAAAAUX6//92+v//AAAAAAAAAAABRPr//3b6//8AAAAAAAAAAA83BAAAAQAAAAgRAAAABzgEAAAAAQAAAAEAAAADDVN5c3RlbS5JbnRQdHIBQ/r//23+//8AAAAAAAAAAAE9BAAAIgAAAAoKAQAAAABAQQl/AAAACYAAAAAJwAUAAAAACcEFAAABPgQAAIEAAAAKCgAAAAD///8ADgAAAAABAUMEAADRAAAACcIFAAABAAAAAwAAAAFFBAAAfgAAAAnDBQAACcQFAAABSAQAAIEAAAAKCgAAAAAtMEEADQAAAAAAAUkEAACBAAAACgoAAAAALTBBAA0AAAAAAQdKBAAAAAEAAAAEAAAABB1BcGxvcmlzLkJhc2UuT2JqZWN0cy5WYXJpYWJsZQMAAAABO/r//3b6//8BAAAAAAAAAAE6+v//dvr//wAAAAAAAAAAATn6//92+v//AAAAAAAAAAABOPr//3b6//8AAAAAAAAAAA9LBAAAAQAAAAgQAAAAB0wEAAAAAQAAAAEAAAADDVN5c3RlbS5JbnRQdHIBN/r//23+//8AAAAAAAAAAAFRBAAAIgAAAAoKAQAAAABAQQl/AAAACYAAAAAJzAUAAAAACc0FAAABUgQAAIEAAAAKCgAAAAD///8ADgAAAAABAVcEAADRAAAACc4FAAABAAAAAwAAAAFZBAAAfgAAAAnPBQAACdAFAAABXAQAAIEAAAAKCgAAAAAtMEEADQAAAAAAAV0EAACBAAAACgoAAAAALTBBAA0AAAAAAQdeBAAAAAEAAAAEAAAABB1BcGxvcmlzLkJhc2UuT2JqZWN0cy5WYXJpYWJsZQMAAAABL/r//3b6//8BAAAAAAAAAAEu+v//dvr//wAAAAAAAAAAAS36//92+v//AAAAAAAAAAABLPr//3b6//8AAAAAAAAAAA9fBAAAAQAAAAgNAAAAB2AEAAAAAQAAAAEAAAADDVN5c3RlbS5JbnRQdHIBK/r//23+//8AAAAAAAAAAAFlBAAAIgAAAAoKAQAAAABAQQl/AAAACYAAAAAJ2AUAAAAACdkFAAABZgQAAIEAAAAKCgAAAAD///8ADgAAAAABAWsEAADRAAAACdoFAAABAAAAAwAAAAFtBAAAfgAAAAnbBQAACdwFAAABcAQAAIEAAAAKCgAAAAAtMEEADQAAAAAAAXEEAACBAAAACgoAAAAALTBBAA0AAAAAAQdyBAAAAAEAAAAEAAAABB1BcGxvcmlzLkJhc2UuT2JqZWN0cy5WYXJpYWJsZQMAAAABI/r//3b6//8BAAAAAAAAAAEi+v//dvr//wAAAAAAAAAAASH6//92+v//AAAAAAAAAAABIPr//3b6//8AAAAAAAAAAA9zBAAAAQAAAAgTAAAAB3QEAAAAAQAAAAEAAAADDVN5c3RlbS5JbnRQdHIBH/r//23+//8AAAAAAAAAAAF5BAAAIgAAAAoKAQAAAABAQQl/AAAACYAAAAAJ5AUAAAAACeUFAAABegQAAIEAAAAKCgAAAAD///8ADgAAAAABAX8EAADRAAAACeYFAAABAAAAAwAAAAGBBAAAfgAAAAnnBQAACegFAAABhAQAAIEAAAAKCgAAAAAtMEEADQAAAAAAAYUEAACBAAAACgoAAAAALTBBAA0AAAAAAQeGBAAAAAEAAAAEAAAABB1BcGxvcmlzLkJhc2UuT2JqZWN0cy5WYXJpYWJsZQMAAAABF/r//3b6//8BAAAAAAAAAAEW+v//dvr//wAAAAAAAAAAARX6//92+v//AAAAAAAAAAABFPr//3b6//8AAAAAAAAAAA+HBAAAAQAAAAhKAAAAB4gEAAAAAQAAAAEAAAADDVN5c3RlbS5JbnRQdHIBE/r//23+//8AAAAAAAAAAAGPBAAAfgAAAAnuBQAACe8FAAAFkg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n9AQAACgAAAAAAQEEJfwAAAAmAAAAACfMFAAABAAn0BQAAAZMEAACBAAAACgoAAAAAkpOYAAUAAAAAAQGYBAAA0QAAAAn1BQAAAQAAAAMAAAABnQQAAHkAAAAKCgAAAEA/CfYFAAAJ9wUAAAEAAAD+////AAAAAAEAAAAAAAAAAAAAAAEAAAAAAAAAAAAAAZ4EAAB6AAAACgoJ+AUAAAn5BQAAAQAAAAAAAAAAAAAA/////wAAAaIEAAB+AAAACfoFAAAJ+wUAAAeqBAAAAAEAAAAEAAAABBxBcGxvcmlzLkJhc2UuVUkuVmlzdWFsT2JqZWN0AwAAAAnrAgAACeoCAAANAgGvBAAAfgAAAAn+BQAACf8FAAAFsg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n+AQAACgAAAAAAQEEJfwAAAAmAAAAACQMGAAABAAkEBgAAAbMEAACBAAAACgoBAAAAAAAAAP////8AAQG4BAAA0QAAAAkFBgAAAQAAAAMAAAABvQQAAHkAAAAKCgAAAEA/CQYGAAAJBwYAAAEAAAD+////AAAAAAEAAAAAAAAAAAAAAAEAAAAAAAAAAAAAAb4EAAB6AAAACgoJCAYAAAkJBgAAAQAAAAAAAAAAAAAA/////wAAAcIEAAB+AAAACQoGAAAJCwYAAAfKBAAAAAEAAAAEAAAABBxBcGxvcmlzLkJhc2UuVUkuVmlzdWFsT2JqZWN0AwAAAAn1AgAACfQCAAANAgXLBAAAGkFwbG9yaXMuQmFzZS5PYmplY3RzLkNvbG9yBwAAABJEYXRhT2JqZWN0K21QYXJlbnQVRGF0YU9iamVjdCttQ29udGFpbmVyBW1UeXBlBG1SR0IQbVRoZW1lQ29sb3JJbmRleAxtQXV0b1VwZGF0ZWQJbU1vZGlmaWVkBAIAAAAAAB9BcGxvcmlzLkJhc2UuT2JqZWN0cy5MaW5lRm9ybWF0AwAAAAgICAEBAwAAAAkRAwAACgAAAAAtMEEADQAAAAAABcwEAAAaQXBsb3Jpcy5CYXNlLk9iamVjdHMuQ29sb3IHAAAAEkRhdGFPYmplY3QrbVBhcmVudBVEYXRhT2JqZWN0K21Db250YWluZXIFbVR5cGUEbVJHQhBtVGhlbWVDb2xvckluZGV4DG1BdXRvVXBkYXRlZAltTW9kaWZpZWQEAgAAAAAAH0FwbG9yaXMuQmFzZS5PYmplY3RzLkxpbmVGb3JtYXQDAAAACAgIAQEDAAAACREDAAAKAQAAAAAAAAD/////AAEPzQQAAAEAAAAIKQAAAAfOBAAAAAEAAAABAAAAAw1TeXN0ZW0uSW50UHRyAfH5//9t/v//AAAAAAAAAAAFzwQAABpBcGxvcmlzLkJhc2UuT2JqZWN0cy5Db2xvcgcAAAASRGF0YU9iamVjdCttUGFyZW50FURhdGFPYmplY3QrbUNvbnRhaW5lcgVtVHlwZQRtUkdCEG1UaGVtZUNvbG9ySW5kZXgMbUF1dG9VcGRhdGVkCW1Nb2RpZmllZAQCAAAAAAAfQXBsb3Jpcy5CYXNlLk9iamVjdHMuTGluZUZvcm1hdAMAAAAICAgBAQMAAAAJEwMAAAoAAAAALTBBAA0AAAAAAAXQBAAAGkFwbG9yaXMuQmFzZS5PYmplY3RzLkNvbG9yBwAAABJEYXRhT2JqZWN0K21QYXJlbnQVRGF0YU9iamVjdCttQ29udGFpbmVyBW1UeXBlBG1SR0IQbVRoZW1lQ29sb3JJbmRleAxtQXV0b1VwZGF0ZWQJbU1vZGlmaWVkBAIAAAAAAB9BcGxvcmlzLkJhc2UuT2JqZWN0cy5MaW5lRm9ybWF0AwAAAAgICAEBAwAAAAkTAwAACgEAAAAAAAAA/////wABAdEEAACBAAAACgoBAAAA////AP////8AAAHSBAAAgQAAAAoKAQAAAP///wD/////AAAP0wQAAAEAAAAIKwAAAAfUBAAAAAEAAAABAAAAAw1TeXN0ZW0uSW50UHRyAe/5//9t/v//AAAAAAAAAAAB1wQAAIEAAAAKCgAAAAAtMEEADQAAAAAAAdgEAACBAAAACgoAAAAALTBBAA0AAAAAAQfZBAAAAAEAAAAEAAAABB1BcGxvcmlzLkJhc2UuT2JqZWN0cy5WYXJpYWJsZQMAAAAB7vn//3b6//8EAAAAAAAAAAHt+f//dvr//wAAAAAAAAAAAez5//92+v//AAAAAAAAAAAB6/n//3b6//8AAAAAAAAAAAHiBAAAfgAAAAkWBgAACRcGAAAF5Q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KAgAACgAAAAAAQEEJfwAAAAmAAAAACRsGAAABAAkcBgAAAeYEAACBAAAACgoAAAAAkpOYAAUAAAAAAQHrBAAA0QAAAAkdBgAAAQAAAAMAAAAB8AQAAHkAAAAKCgAAAEA/CR4GAAAJHwYAAAEAAAD+////AAAAAAEAAAAAAAAAAAAAAAEAAAAAAAAAAAAAAfEEAAB6AAAACgoJIAYAAAkhBgAAAQAAAAAAAAAAAAAA/////wAAAfUEAAB+AAAACSIGAAAJIwYAAAf9BAAAAAEAAAAEAAAABBxBcGxvcmlzLkJhc2UuVUkuVmlzdWFsT2JqZWN0AwAAAAkmAwAACSUDAAANAgX+BAAAGkFwbG9yaXMuQmFzZS5PYmplY3RzLkNvbG9yBwAAABJEYXRhT2JqZWN0K21QYXJlbnQVRGF0YU9iamVjdCttQ29udGFpbmVyBW1UeXBlBG1SR0IQbVRoZW1lQ29sb3JJbmRleAxtQXV0b1VwZGF0ZWQJbU1vZGlmaWVkBAIAAAAAAB9BcGxvcmlzLkJhc2UuT2JqZWN0cy5MaW5lRm9ybWF0AwAAAAgICAEBAwAAAAlCAwAACgAAAAAtMEEADQAAAAAABf8EAAAaQXBsb3Jpcy5CYXNlLk9iamVjdHMuQ29sb3IHAAAAEkRhdGFPYmplY3QrbVBhcmVudBVEYXRhT2JqZWN0K21Db250YWluZXIFbVR5cGUEbVJHQhBtVGhlbWVDb2xvckluZGV4DG1BdXRvVXBkYXRlZAltTW9kaWZpZWQEAgAAAAAAH0FwbG9yaXMuQmFzZS5PYmplY3RzLkxpbmVGb3JtYXQDAAAACAgIAQEDAAAACUIDAAAKAQAAAAAAAAD/////AAEPAAUAAAEAAAAIQwAAAAcBBQAAAAEAAAABAAAAAw1TeXN0ZW0uSW50UHRyAdn5//9t/v//AAAAAAAAAAAFAgUAABpBcGxvcmlzLkJhc2UuT2JqZWN0cy5Db2xvcgcAAAASRGF0YU9iamVjdCttUGFyZW50FURhdGFPYmplY3QrbUNvbnRhaW5lcgVtVHlwZQRtUkdCEG1UaGVtZUNvbG9ySW5kZXgMbUF1dG9VcGRhdGVkCW1Nb2RpZmllZAQCAAAAAAAfQXBsb3Jpcy5CYXNlLk9iamVjdHMuTGluZUZvcm1hdAMAAAAICAgBAQMAAAAJRAMAAAoAAAAALTBBAA0AAAAAAAUDBQAAGkFwbG9yaXMuQmFzZS5PYmplY3RzLkNvbG9yBwAAABJEYXRhT2JqZWN0K21QYXJlbnQVRGF0YU9iamVjdCttQ29udGFpbmVyBW1UeXBlBG1SR0IQbVRoZW1lQ29sb3JJbmRleAxtQXV0b1VwZGF0ZWQJbU1vZGlmaWVkBAIAAAAAAB9BcGxvcmlzLkJhc2UuT2JqZWN0cy5MaW5lRm9ybWF0AwAAAAgICAEBAwAAAAlEAwAACgEAAAAAAAAA/////wABAQQFAACBAAAACgoBAAAA////AP////8AAAEFBQAAgQAAAAoKAQAAAP///wD/////AAAPBgUAAAEAAAAIRAAAAAcHBQAAAAEAAAABAAAAAw1TeXN0ZW0uSW50UHRyAdf5//9t/v//AAAAAAAAAAABCgUAAIEAAAAKCgAAAAAtMEEADQAAAAAAAQsFAACBAAAACgoAAAAALTBBAA0AAAAAAQcMBQAAAAEAAAAEAAAABB1BcGxvcmlzLkJhc2UuT2JqZWN0cy5WYXJpYWJsZQMAAAAB1vn//3b6//8EAAAAAAAAAAHV+f//dvr//wAAAAAAAAAAAdT5//92+v//AAAAAAAAAAAB0/n//3b6//8AAAAAAAAAAAERBQAAgQAAAAoKAAAAAC0wQQANAAAAAAAFEgUAABpBcGxvcmlzLkJhc2UuT2JqZWN0cy5Db2xvcgcAAAASRGF0YU9iamVjdCttUGFyZW50FURhdGFPYmplY3QrbUNvbnRhaW5lcgVtVHlwZQRtUkdCEG1UaGVtZUNvbG9ySW5kZXgMbUF1dG9VcGRhdGVkCW1Nb2RpZmllZAQCAAAAAAAfQXBsb3Jpcy5CYXNlLk9iamVjdHMuTGluZUZvcm1hdAMAAAAICAgBAQMAAAAJWAMAAAoBAAAAAAAAAP////8AAQ8TBQAAAQAAAAg3AAAABxQFAAAAAQAAAAEAAAADDVN5c3RlbS5JbnRQdHIB0fn//23+//8AAAAAAAAAAAEXBQAAgQAAAAoKAAAAAC0wQQANAAAAAAABGAUAAIEAAAAKCgAAAAAtMEEADQAAAAABBxkFAAAAAQAAAAQAAAAEHUFwbG9yaXMuQmFzZS5PYmplY3RzLlZhcmlhYmxlAwAAAAHQ+f//dvr//wEAAAAAAAAAAc/5//92+v//AAAAAAAAAAABzvn//3b6//8AAAAAAAAAAAHN+f//dvr//wAAAAAAAAAADxoFAAABAAAACD0AAAAHGwUAAAABAAAAAQAAAAMNU3lzdGVtLkludFB0cgHM+f//bf7//wAAAAAAAAAAAR4FAACBAAAACgoAAAAALTBBAA0AAAAAAAUfBQAAGkFwbG9yaXMuQmFzZS5PYmplY3RzLkNvbG9yBwAAABJEYXRhT2JqZWN0K21QYXJlbnQVRGF0YU9iamVjdCttQ29udGFpbmVyBW1UeXBlBG1SR0IQbVRoZW1lQ29sb3JJbmRleAxtQXV0b1VwZGF0ZWQJbU1vZGlmaWVkBAIAAAAAAB9BcGxvcmlzLkJhc2UuT2JqZWN0cy5MaW5lRm9ybWF0AwAAAAgICAEBAwAAAAlpAwAACgEAAAAAAAAA/////wABDyAFAAABAAAACC8AAAAHIQUAAAABAAAAAQAAAAMNU3lzdGVtLkludFB0cgHK+f//bf7//wAAAAAAAAAAASQFAACBAAAACgoAAAAALTBBAA0AAAAAAAElBQAAgQAAAAoKAAAAAC0wQQANAAAAAAEHJgUAAAABAAAABAAAAAQdQXBsb3Jpcy5CYXNlLk9iamVjdHMuVmFyaWFibGUDAAAAAcn5//92+v//AQAAAAAAAAAByPn//3b6//8AAAAAAAAAAAHH+f//dvr//wAAAAAAAAAAAcb5//92+v//AAAAAAAAAAAPJwUAAAEAAAAIQQAAAAcoBQAAAAEAAAABAAAAAw1TeXN0ZW0uSW50UHRyAcX5//9t/v//AAAAAAAAAAABKwUAAIEAAAAKCgAAAAAtMEEADQAAAAAABSwFAAAaQXBsb3Jpcy5CYXNlLk9iamVjdHMuQ29sb3IHAAAAEkRhdGFPYmplY3QrbVBhcmVudBVEYXRhT2JqZWN0K21Db250YWluZXIFbVR5cGUEbVJHQhBtVGhlbWVDb2xvckluZGV4DG1BdXRvVXBkYXRlZAltTW9kaWZpZWQEAgAAAAAAH0FwbG9yaXMuQmFzZS5PYmplY3RzLkxpbmVGb3JtYXQDAAAACAgIAQEDAAAACXoDAAAKAQAAAAAAAAD/////AAEPLQUAAAEAAAAILQAAAAcuBQAAAAEAAAABAAAAAw1TeXN0ZW0uSW50UHRyAcP5//9t/v//AAAAAAAAAAABMQUAAIEAAAAKCgAAAAAtMEEADQAAAAAAATIFAACBAAAACgoAAAAALTBBAA0AAAAAAQczBQAAAAEAAAAEAAAABB1BcGxvcmlzLkJhc2UuT2JqZWN0cy5WYXJpYWJsZQMAAAABwvn//3b6//8BAAAAAAAAAAHB+f//dvr//wAAAAAAAAAAAcD5//92+v//AAAAAAAAAAABv/n//3b6//8AAAAAAAAAAA80BQAAAQAAAAg+AAAABzUFAAAAAQAAAAEAAAADDVN5c3RlbS5JbnRQdHIBvvn//23+//8AAAAAAAAAAAE4BQAAgQAAAAoKAAAAAC0wQQANAAAAAAAFOQUAABpBcGxvcmlzLkJhc2UuT2JqZWN0cy5Db2xvcgcAAAASRGF0YU9iamVjdCttUGFyZW50FURhdGFPYmplY3QrbUNvbnRhaW5lcgVtVHlwZQRtUkdCEG1UaGVtZUNvbG9ySW5kZXgMbUF1dG9VcGRhdGVkCW1Nb2RpZmllZAQCAAAAAAAfQXBsb3Jpcy5CYXNlLk9iamVjdHMuTGluZUZvcm1hdAMAAAAICAgBAQMAAAAJiwMAAAoBAAAAAAAAAP////8AAQ86BQAAAQAAAAgxAAAABzsFAAAAAQAAAAEAAAADDVN5c3RlbS5JbnRQdHIBvPn//23+//8AAAAAAAAAAAE+BQAAgQAAAAoKAAAAAC0wQQANAAAAAAABPwUAAIEAAAAKCgAAAAAtMEEADQAAAAABB0AFAAAAAQAAAAQAAAAEHUFwbG9yaXMuQmFzZS5PYmplY3RzLlZhcmlhYmxlAwAAAAG7+f//dvr//wEAAAAAAAAAAbr5//92+v//AAAAAAAAAAABufn//3b6//8AAAAAAAAAAAG4+f//dvr//wAAAAAAAAAAD0EFAAABAAAACEAAAAAHQgUAAAABAAAAAQAAAAMNU3lzdGVtLkludFB0cgG3+f//bf7//wAAAAAAAAAAAUUFAACBAAAACgoAAAAALTBBAA0AAAAAAAVGBQAAGkFwbG9yaXMuQmFzZS5PYmplY3RzLkNvbG9yBwAAABJEYXRhT2JqZWN0K21QYXJlbnQVRGF0YU9iamVjdCttQ29udGFpbmVyBW1UeXBlBG1SR0IQbVRoZW1lQ29sb3JJbmRleAxtQXV0b1VwZGF0ZWQJbU1vZGlmaWVkBAIAAAAAAB9BcGxvcmlzLkJhc2UuT2JqZWN0cy5MaW5lRm9ybWF0AwAAAAgICAEBAwAAAAmcAwAACgEAAAAAAAAA/////wABD0cFAAABAAAACDAAAAAHSAUAAAABAAAAAQAAAAMNU3lzdGVtLkludFB0cgG1+f//bf7//wAAAAAAAAAAAUsFAACBAAAACgoAAAAALTBBAA0AAAAAAAFMBQAAgQAAAAoKAAAAAC0wQQANAAAAAAEHTQUAAAABAAAABAAAAAQdQXBsb3Jpcy5CYXNlLk9iamVjdHMuVmFyaWFibGUDAAAAAbT5//92+v//AQAAAAAAAAABs/n//3b6//8AAAAAAAAAAAGy+f//dvr//wAAAAAAAAAAAbH5//92+v//AAAAAAAAAAAPTgUAAAEAAAAIPwAAAAdPBQAAAAEAAAABAAAAAw1TeXN0ZW0uSW50UHRyAbD5//9t/v//AAAAAAAAAAABUgUAAIEAAAAKCgAAAAAtMEEADQAAAAAABVMFAAAaQXBsb3Jpcy5CYXNlLk9iamVjdHMuQ29sb3IHAAAAEkRhdGFPYmplY3QrbVBhcmVudBVEYXRhT2JqZWN0K21Db250YWluZXIFbVR5cGUEbVJHQhBtVGhlbWVDb2xvckluZGV4DG1BdXRvVXBkYXRlZAltTW9kaWZpZWQEAgAAAAAAH0FwbG9yaXMuQmFzZS5PYmplY3RzLkxpbmVGb3JtYXQDAAAACAgIAQEDAAAACa0DAAAKAQAAAAAAAAD/////AAEPVAUAAAEAAAAIMgAAAAdVBQAAAAEAAAABAAAAAw1TeXN0ZW0uSW50UHRyAa75//9t/v//AAAAAAAAAAABWAUAAIEAAAAKCgAAAAAtMEEADQAAAAAAAVkFAACBAAAACgoAAAAALTBBAA0AAAAAAQdaBQAAAAEAAAAEAAAABB1BcGxvcmlzLkJhc2UuT2JqZWN0cy5WYXJpYWJsZQMAAAABrfn//3b6//8BAAAAAAAAAAGs+f//dvr//wAAAAAAAAAAAav5//92+v//AAAAAAAAAAABqvn//3b6//8AAAAAAAAAAA9bBQAAAQAAAAhCAAAAB1wFAAAAAQAAAAEAAAADDVN5c3RlbS5JbnRQdHIBqfn//23+//8AAAAAAAAAAAFfBQAAgQAAAAoKAAAAAC0wQQANAAAAAAAFYAUAABpBcGxvcmlzLkJhc2UuT2JqZWN0cy5Db2xvcgcAAAASRGF0YU9iamVjdCttUGFyZW50FURhdGFPYmplY3QrbUNvbnRhaW5lcgVtVHlwZQRtUkdCEG1UaGVtZUNvbG9ySW5kZXgMbUF1dG9VcGRhdGVkCW1Nb2RpZmllZAQCAAAAAAAfQXBsb3Jpcy5CYXNlLk9iamVjdHMuTGluZUZvcm1hdAMAAAAICAgBAQMAAAAJvgMAAAoBAAAAAAAAAP////8AAQ9hBQAAAQAAAAguAAAAB2IFAAAAAQAAAAEAAAADDVN5c3RlbS5JbnRQdHIBp/n//23+//8AAAAAAAAAAAFlBQAAgQAAAAoKAAAAAC0wQQANAAAAAAABZgUAAIEAAAAKCgAAAAAtMEEADQAAAAABB2cFAAAAAQAAAAQAAAAEHUFwbG9yaXMuQmFzZS5PYmplY3RzLlZhcmlhYmxlAwAAAAGm+f//dvr//wEAAAAAAAAAAaX5//92+v//AAAAAAAAAAABpPn//3b6//8AAAAAAAAAAAGj+f//dvr//wAAAAAAAAAAD2gFAAABAAAACDkAAAAHaQUAAAABAAAAAQAAAAMNU3lzdGVtLkludFB0cgGi+f//bf7//wAAAAAAAAAAAWwFAACBAAAACgoAAAAALTBBAA0AAAAAAAVtBQAAGkFwbG9yaXMuQmFzZS5PYmplY3RzLkNvbG9yBwAAABJEYXRhT2JqZWN0K21QYXJlbnQVRGF0YU9iamVjdCttQ29udGFpbmVyBW1UeXBlBG1SR0IQbVRoZW1lQ29sb3JJbmRleAxtQXV0b1VwZGF0ZWQJbU1vZGlmaWVkBAIAAAAAAB9BcGxvcmlzLkJhc2UuT2JqZWN0cy5MaW5lRm9ybWF0AwAAAAgICAEBAwAAAAnPAwAACgEAAAAAAAAA/////wABD24FAAABAAAACEYAAAAHbwUAAAABAAAAAQAAAAMNU3lzdGVtLkludFB0cgGg+f//bf7//wAAAAAAAAAAAXIFAACBAAAACgoAAAAALTBBAA0AAAAAAAFzBQAAgQAAAAoKAAAAAC0wQQANAAAAAAEHdAUAAAABAAAABAAAAAQdQXBsb3Jpcy5CYXNlLk9iamVjdHMuVmFyaWFibGUDAAAAAZ/5//92+v//AQAAAAAAAAABnvn//3b6//8AAAAAAAAAAAGd+f//dvr//wAAAAAAAAAAAZz5//92+v//AAAAAAAAAAAPdQUAAAEAAAAISQAAAAd2BQAAAAEAAAABAAAAAw1TeXN0ZW0uSW50UHRyAZv5//9t/v//AAAAAAAAAAABegUAAP0BAAAJZgYAAAlnBgAACgloBgAACgl+AQAACAb7K075coxoQAoBAAAACWoGAAAJawYAAAAAAAAACWwGAAAJfgEAAAkBAAAACW8GAAABfAUAAP0BAAAJcAYAAAlxBgAACglyBgAACgl+AQAACAYXWJqeJgV2QAoDAAAACXQGAAAJdQYAAAAAAAAACXYGAAAJfgEAAAkBAAAACXkGAAABfQUAAP0BAAAJegYAAAl7BgAACgl8BgAACgl+AQAACAbsCKynRGN+QAoEAAAACX4GAAAJfwYAAAAAAAAACYAGAAAJfgEAAAkBAAAACYMGAAABfgUAAP0BAAAJhAYAAAmFBgAACgmGBgAACgl+AQAACAbzgGAB56mEQAoFAAAACYgGAAAJiQYAAAAAAAAACYoGAAAJfgEAAAkBAAAACY0GAAABfwUAAP0BAAAJjgYAAAmPBgAACgmQBgAACgl+AQAACAYYzkVoRBqMQAoGAAAACZIGAAAJkwYAAAAAAAAACZQGAAAJfgEAAAkBAAAACZcGAAABkAUAAIEAAAAKCgAAAAAtMEEADQAAAAAAAZEFAACBAAAACgoAAAAALTBBAA0AAAAAAQeSBQAAAAEAAAAEAAAABB1BcGxvcmlzLkJhc2UuT2JqZWN0cy5WYXJpYWJsZQMAAAABaPn//3b6//8BAAAAAAAAAAFn+f//dvr//wAAAAAAAAAAAWb5//92+v//AAAAAAAAAAABZfn//3b6//8AAAAAAAAAAA+TBQAAAQAAAAglAAAAB5QFAAAAAQAAAAEAAAADDVN5c3RlbS5JbnRQdHIBZPn//23+//8AAAAAAAAAAAGcBQAAgQAAAAoKAAAAAC0wQQANAAAAAAABnQUAAIEAAAAKCgAAAAAtMEEADQAAAAABB54FAAAAAQAAAAQAAAAEHUFwbG9yaXMuQmFzZS5PYmplY3RzLlZhcmlhYmxlAwAAAAFj+f//dvr//wEAAAAAAAAAAWL5//92+v//AAAAAAAAAAABYfn//3b6//8AAAAAAAAAAAFg+f//dvr//wAAAAAAAAAAD58FAAABAAAACCMAAAAHoAUAAAABAAAAAQAAAAMNU3lzdGVtLkludFB0cgFf+f//bf7//wAAAAAAAAAAAagFAACBAAAACgoAAAAALTBBAA0AAAAAAAGpBQAAgQAAAAoKAAAAAC0wQQANAAAAAAEHqgUAAAABAAAABAAAAAQdQXBsb3Jpcy5CYXNlLk9iamVjdHMuVmFyaWFibGUDAAAAAV75//92+v//AQAAAAAAAAABXfn//3b6//8AAAAAAAAAAAFc+f//dvr//wAAAAAAAAAAAVv5//92+v//AAAAAAAAAAAPqwUAAAEAAAAIIQAAAAesBQAAAAEAAAABAAAAAw1TeXN0ZW0uSW50UHRyAVr5//9t/v//AAAAAAAAAAABtAUAAIEAAAAKCgAAAAAtMEEADQAAAAAAAbUFAACBAAAACgoAAAAALTBBAA0AAAAAAQe2BQAAAAEAAAAEAAAABB1BcGxvcmlzLkJhc2UuT2JqZWN0cy5WYXJpYWJsZQMAAAABWfn//3b6//8BAAAAAAAAAAFY+f//dvr//wAAAAAAAAAAAVf5//92+v//AAAAAAAAAAABVvn//3b6//8AAAAAAAAAAA+3BQAAAQAAAAgiAAAAB7gFAAAAAQAAAAEAAAADDVN5c3RlbS5JbnRQdHIBVfn//23+//8AAAAAAAAAAAHABQAAgQAAAAoKAAAAAC0wQQANAAAAAAABwQUAAIEAAAAKCgAAAAAtMEEADQAAAAABB8IFAAAAAQAAAAQAAAAEHUFwbG9yaXMuQmFzZS5PYmplY3RzLlZhcmlhYmxlAwAAAAFU+f//dvr//wEAAAAAAAAAAVP5//92+v//AAAAAAAAAAABUvn//3b6//8AAAAAAAAAAAFR+f//dvr//wAAAAAAAAAAD8MFAAABAAAACBcAAAAHxAUAAAABAAAAAQAAAAMNU3lzdGVtLkludFB0cgFQ+f//bf7//wAAAAAAAAAAAcwFAACBAAAACgoAAAAALTBBAA0AAAAAAAHNBQAAgQAAAAoKAAAAAC0wQQANAAAAAAEHzgUAAAABAAAABAAAAAQdQXBsb3Jpcy5CYXNlLk9iamVjdHMuVmFyaWFibGUDAAAAAU/5//92+v//AQAAAAAAAAABTvn//3b6//8AAAAAAAAAAAFN+f//dvr//wAAAAAAAAAAAUz5//92+v//AAAAAAAAAAAPzwUAAAEAAAAIGQAAAAfQBQAAAAEAAAABAAAAAw1TeXN0ZW0uSW50UHRyAUv5//9t/v//AAAAAAAAAAAB2AUAAIEAAAAKCgAAAAAtMEEADQAAAAAAAdkFAACBAAAACgoAAAAALTBBAA0AAAAAAQfaBQAAAAEAAAAEAAAABB1BcGxvcmlzLkJhc2UuT2JqZWN0cy5WYXJpYWJsZQMAAAABSvn//3b6//8BAAAAAAAAAAFJ+f//dvr//wAAAAAAAAAAAUj5//92+v//AAAAAAAAAAABR/n//3b6//8AAAAAAAAAAA/bBQAAAQAAAAgYAAAAB9wFAAAAAQAAAAEAAAADDVN5c3RlbS5JbnRQdHIBRvn//23+//8AAAAAAAAAAAHkBQAAgQAAAAoKAAAAAC0wQQANAAAAAAAB5QUAAIEAAAAKCgAAAAAtMEEADQAAAAABB+YFAAAAAQAAAAQAAAAEHUFwbG9yaXMuQmFzZS5PYmplY3RzLlZhcmlhYmxlAwAAAAFF+f//dvr//wEAAAAAAAAAAUT5//92+v//AAAAAAAAAAABQ/n//3b6//8AAAAAAAAAAAFC+f//dvr//wAAAAAAAAAAD+cFAAABAAAACEwAAAAH6AUAAAABAAAAAQAAAAMNU3lzdGVtLkludFB0cgFB+f//bf7//wAAAAAAAAAAD+4FAAABAAAACB4AAAAH7wUAAAABAAAAAQAAAAMNU3lzdGVtLkludFB0cgFA+f//bf7//wAAAAAAAAAAAfMFAACBAAAACgoAAAAALTBBAA0AAAAAAQH0BQAAgQAAAAoKAQAAAAAAAAD/////AAEH9QUAAAABAAAABAAAAAQdQXBsb3Jpcy5CYXNlLk9iamVjdHMuVmFyaWFibGUDAAAAAT/5//92+v//AQAAAAAAAAABPvn//3b6//8AAAAAAAAAAAE9+f//dvr//wAAAAAAAAAAATz5//92+v//AAAAAAAAAAAF9gUAABpBcGxvcmlzLkJhc2UuT2JqZWN0cy5Db2xvcgcAAAASRGF0YU9iamVjdCttUGFyZW50FURhdGFPYmplY3QrbUNvbnRhaW5lcgVtVHlwZQRtUkdCEG1UaGVtZUNvbG9ySW5kZXgMbUF1dG9VcGRhdGVkCW1Nb2RpZmllZAQCAAAAAAAfQXBsb3Jpcy5CYXNlLk9iamVjdHMuTGluZUZvcm1hdAMAAAAICAgBAQMAAAAJnQQAAAoAAAAA////AA4AAAAAAAX3BQAAGkFwbG9yaXMuQmFzZS5PYmplY3RzLkNvbG9yBwAAABJEYXRhT2JqZWN0K21QYXJlbnQVRGF0YU9iamVjdCttQ29udGFpbmVyBW1UeXBlBG1SR0IQbVRoZW1lQ29sb3JJbmRleAxtQXV0b1VwZGF0ZWQJbU1vZGlmaWVkBAIAAAAAAB9BcGxvcmlzLkJhc2UuT2JqZWN0cy5MaW5lRm9ybWF0AwAAAAgICAEBAwAAAAmdBAAACgEAAAAAAAAA/////wABAfgFAACBAAAACgoAAAAA/0g8AAcAAAAAAAH5BQAAgQAAAAoKAQAAAP///wD/////AAAP+gUAAAEAAAAIAwAAAAf7BQAAAAEAAAABAAAAAw1TeXN0ZW0uSW50UHRyATr5//9t/v//AAAAAAAAAAAP/gUAAAEAAAAISwAAAAf/BQAAAAEAAAABAAAAAw1TeXN0ZW0uSW50UHRyATn5//9t/v//AAAAAAAAAAABAwYAAIEAAAAKCgAAAAAtMEEADQAAAAABAQQGAACBAAAACgoBAAAAAAAAAP////8AAQcFBgAAAAEAAAAEAAAABB1BcGxvcmlzLkJhc2UuT2JqZWN0cy5WYXJpYWJsZQMAAAABOPn//3b6//8BAAAAAAAAAAE3+f//dvr//wAAAAAAAAAAATb5//92+v//AAAAAAAAAAABNfn//3b6//8AAAAAAAAAAAUGBgAAGkFwbG9yaXMuQmFzZS5PYmplY3RzLkNvbG9yBwAAABJEYXRhT2JqZWN0K21QYXJlbnQVRGF0YU9iamVjdCttQ29udGFpbmVyBW1UeXBlBG1SR0IQbVRoZW1lQ29sb3JJbmRleAxtQXV0b1VwZGF0ZWQJbU1vZGlmaWVkBAIAAAAAAB9BcGxvcmlzLkJhc2UuT2JqZWN0cy5MaW5lRm9ybWF0AwAAAAgICAEBAwAAAAm9BAAACgAAAAD///8ADgAAAAAABQcGAAAaQXBsb3Jpcy5CYXNlLk9iamVjdHMuQ29sb3IHAAAAEkRhdGFPYmplY3QrbVBhcmVudBVEYXRhT2JqZWN0K21Db250YWluZXIFbVR5cGUEbVJHQhBtVGhlbWVDb2xvckluZGV4DG1BdXRvVXBkYXRlZAltTW9kaWZpZWQEAgAAAAAAH0FwbG9yaXMuQmFzZS5PYmplY3RzLkxpbmVGb3JtYXQDAAAACAgIAQEDAAAACb0EAAAKAQAAAAAAAAD/////AAEBCAYAAIEAAAAKCgAAAAD/SDwABwAAAAAAAQkGAACBAAAACgoBAAAA////AP////8AAA8KBgAAAQAAAAhFAAAABwsGAAAAAQAAAAEAAAADDVN5c3RlbS5JbnRQdHIBM/n//23+//8AAAAAAAAAAA8WBgAAAQAAAAgaAAAABxcGAAAAAQAAAAEAAAADDVN5c3RlbS5JbnRQdHIBMvn//23+//8AAAAAAAAAAAEbBgAAgQAAAAoKAAAAAC0wQQANAAAAAAEBHAYAAIEAAAAKCgEAAAAAAAAA/////wABBx0GAAAAAQAAAAQAAAAEHUFwbG9yaXMuQmFzZS5PYmplY3RzLlZhcmlhYmxlAwAAAAEx+f//dvr//wEAAAAAAAAAATD5//92+v//AAAAAAAAAAABL/n//3b6//8AAAAAAAAAAAEu+f//dvr//wAAAAAAAAAABR4GAAAaQXBsb3Jpcy5CYXNlLk9iamVjdHMuQ29sb3IHAAAAEkRhdGFPYmplY3QrbVBhcmVudBVEYXRhT2JqZWN0K21Db250YWluZXIFbVR5cGUEbVJHQhBtVGhlbWVDb2xvckluZGV4DG1BdXRvVXBkYXRlZAltTW9kaWZpZWQEAgAAAAAAH0FwbG9yaXMuQmFzZS5PYmplY3RzLkxpbmVGb3JtYXQDAAAACAgIAQEDAAAACfAEAAAKAAAAAP///wAOAAAAAAAFHwYAABpBcGxvcmlzLkJhc2UuT2JqZWN0cy5Db2xvcgcAAAASRGF0YU9iamVjdCttUGFyZW50FURhdGFPYmplY3QrbUNvbnRhaW5lcgVtVHlwZQRtUkdCEG1UaGVtZUNvbG9ySW5kZXgMbUF1dG9VcGRhdGVkCW1Nb2RpZmllZAQCAAAAAAAfQXBsb3Jpcy5CYXNlLk9iamVjdHMuTGluZUZvcm1hdAMAAAAICAgBAQMAAAAJ8AQAAAoBAAAAAAAAAP////8AAQEgBgAAgQAAAAoKAAAAAP9IPAAHAAAAAAABIQYAAIEAAAAKCgEAAAD///8A/////wAADyIGAAABAAAACAkAAAAHIwYAAAABAAAAAQAAAAMNU3lzdGVtLkludFB0cgEs+f//bf7//wAAAAAAAAAAAWYGAACvAQAAClgCAAABK/n//5z9//8CAAAAASr5//+b/f//AQAAAAEp+f//7P///5duC0O6hJpDkJnpQUCcGUIBKPn//5n9//8AAAAAAACgQAAJ2QYAAAEm+f//4P///zAIGkN+HqRDASX5//88////AAAAAAAAAAAAAAAAAAncBgAAAAAAAAndBgAAAAAAASL5//8z////AAAAAAEh+f//hf////SivEEz86ZBASD5///s////AAAAAAAAAAAAAAAAAAAAAF662T8G4QYAAAMxOTYKCeIGAAAJcgIAAAnZBgAANAMAAP////8AAQoJ2QYAAAEACgEBZwYAABsAAAABG/n//+D///+XbghDQjivQwEa+f//4P///8mhK0O6BJlDCecGAAAJ6AYAAAAAAAAKARf5//+F////AAAAAAAAAAABFvn//4X///8AAAAAAAAAAAAAAAABFfn//+z///8AAAAAAAAAAAAAAAAAAAAACewGAACkAQAA/////wEBCgnsBgAAAQAKAQdoBgAAAAEAAAACAAAABBpBcGxvcmlzLkJhc2UuVUkuVmlzdWFsTGluZQMAAAANAgdqBgAAAAEAAAADAAAABBVTeXN0ZW0uRHJhd2luZy5Qb2ludEYEAAAAARP5///g////MAgaQ34epEMBEvn//+D///+XbgVDfh6kQwER+f//4P///8mhLkN+HqRDB2sGAAAAAQAAAAMAAAAEF0FwbG9yaXMuQmFzZS5BbmNob3JNb2RlAwAAAAEQ+f//PP///wAAAAABD/n//zz///8CAAAAAQ75//88////BAAAAAFsBgAAJAAAAAmGAgAAAAAAAAAAAAABbwYAACYAAAAJ9AYAAAIAAAACAAAAAXAGAACvAQAAClgCAAABC/n//5z9//8CAAAAAQr5//+b/f//AQAAAAEJ+f//7P///20SfEMB5IhDmJnpQQRRk0IBCPn//5n9//8AAAAAAACgQAAJ+QYAAAEG+f//4P///wNWhUMiTptDAQX5//88////AAAAAAAAAAAAAAAAAAn8BgAAAAAAAAn9BgAAAAAAAQL5//8z////AAAAAAEB+f//hf////SivEEz86ZBAQD5///s////AAAAAAAAAAAAAAAAAAAAAF662T8GAQcAAAMzNTIKCQIHAAAJcgIAAAn5BgAANAMAAP////8AAQoJ+QYAAAEACgEBcQYAABsAAAAB+/j//+D///9tEnlDQjivQwH6+P//4P///9AijkMBZIdDCQcHAAAJCAcAAAAAAAAKAff4//+F////AAAAAAAAAAAB9vj//4X///8AAAAAAAAAAAAAAAAB9fj//+z///8AAAAAAAAAAAAAAAAAAAAACQwHAACkAQAA/////wEBCgkMBwAAAQAKAQdyBgAAAAEAAAACAAAABBpBcGxvcmlzLkJhc2UuVUkuVmlzdWFsTGluZQMAAAANAgd0BgAAAAEAAAADAAAABBVTeXN0ZW0uRHJhd2luZy5Qb2ludEYEAAAAAfP4///g////A1aFQyJOm0MB8vj//+D///9tEnZDIk6bQwHx+P//4P///9Cij0MiTptDB3UGAAAAAQAAAAMAAAAEF0FwbG9yaXMuQmFzZS5BbmNob3JNb2RlAwAAAAHw+P//PP///wAAAAAB7/j//zz///8CAAAAAe74//88////BAAAAAF2BgAAJAAAAAmGAgAAAAAAAAAAAAABeQYAACYAAAAJFAcAAAIAAAACAAAAAXoGAACvAQAAClgCAAAB6/j//5z9//8CAAAAAer4//+b/f//AQAAAAHp+P//7P///ysymkPagnNDoJnpQVTbz0IB6Pj//5n9//8AAAAAAACgQAAJGQcAAAHm+P//4P////h+oUPYvJNDAeX4//88////AAAAAAAAAAAAAAAAAAkcBwAAAAAAAAkdBwAAAAAAAeL4//8z////AAAAAAHh+P//hf////SivEEz86ZBAeD4///s////AAAAAAAAAAAAAAAAAAAAAF662T8GIQcAAAM0ODYKCSIHAAAJcgIAAAkZBwAANAMAAP////8AAQoJGQcAAAEACgEBewYAABsAAAAB2/j//+D///8rsphDQjivQwHa+P//4P///8VLqkPagnBDCScHAAAJKAcAAAAAAAAKAdf4//+F////AAAAAAAAAAAB1vj//4X///8AAAAAAAAAAAAAAAAB1fj//+z///8AAAAAAAAAAAAAAAAAAAAACSwHAACkAQAA/////wEBCgksBwAAAQAKAQd8BgAAAAEAAAACAAAABBpBcGxvcmlzLkJhc2UuVUkuVmlzdWFsTGluZQMAAAANAgd+BgAAAAEAAAADAAAABBVTeXN0ZW0uRHJhd2luZy5Qb2ludEYEAAAAAdP4///g////+H6hQ9i8k0MB0vj//+D///8rMpdD2LyTQwHR+P//4P///8XLq0PYvJNDB38GAAAAAQAAAAMAAAAEF0FwbG9yaXMuQmFzZS5BbmNob3JNb2RlAwAAAAHQ+P//PP///wAAAAABz/j//zz///8CAAAAAc74//88////BAAAAAGABgAAJAAAAAmGAgAAAAAAAAAAAAABgwYAACYAAAAJNAcAAAIAAAACAAAAAYQGAACvAQAAClgCAAABy/j//5z9//8CAAAAAcr4//+b/f//AQAAAAHJ+P//7P///yFbtkPa70tDoJnpQaqAD0MByPj//5n9//8AAAAAAACgQAAJOQcAAAHG+P//4P///+6nvUMY2IlDAcX4//88////AAAAAAAAAAAAAAAAAAk8BwAAAAAAAAk9BwAAAAAAAcL4//8z////AAAAAAHB+P//hf////SivEEz86ZBAcD4///s////AAAAAAAAAAAAAAAAAAAAAF662T8GQQcAAAM2NjEKCUIHAAAJcgIAAAk5BwAANAMAAP////8AAQoJOQcAAAEACgEBhQYAABsAAAABu/j//+D///8h27RDQjivQwG6+P//4P///7t0xkPa70hDCUcHAAAJSAcAAAAAAAAKAbf4//+F////AAAAAAAAAAABtvj//4X///8AAAAAAAAAAAAAAAABtfj//+z///8AAAAAAAAAAAAAAAAAAAAACUwHAACkAQAA/////wEBCglMBwAAAQAKAQeGBgAAAAEAAAACAAAABBpBcGxvcmlzLkJhc2UuVUkuVmlzdWFsTGluZQMAAAANAgeIBgAAAAEAAAADAAAABBVTeXN0ZW0uRHJhd2luZy5Qb2ludEYEAAAAAbP4///g////7qe9QxjYiUMBsvj//+D///8hW7NDGNiJQwGx+P//4P///7v0x0MY2IlDB4kGAAAAAQAAAAMAAAAEF0FwbG9yaXMuQmFzZS5BbmNob3JNb2RlAwAAAAGw+P//PP///wAAAAABr/j//zz///8CAAAAAa74//88////BAAAAAGKBgAAJAAAAAmGAgAAAAAAAAAAAAABjQYAACYAAAAJVAcAAAIAAAACAAAAAY4GAACvAQAAClgCAAABq/j//5z9//8CAAAAAar4//+b/f//AQAAAAGp+P//7P///xaE0kOyHRZDoJnpQdJSRUMBqPj//5n9//8AAAAAAACgQAAJWQcAAAGm+P//4P///+PQ2UMbx3hDAaX4//88////AAAAAAAAAAAAAAAAAAlcBwAAAAAAAAldBwAAAAAAAaL4//8z////AAAAAAGh+P//hf////SivEEz86ZBAaD4///s////AAAAAAAAAAAAAAAAAAAAAF662T8GYQcAAAM4OTkKCWIHAAAJcgIAAAlZBwAANAMAAP////8AAQoJWQcAAAEACgEBjwYAABsAAAABm/j//+D///8WBNFDQjivQwGa+P//4P///7Cd4kOyHRNDCWcHAAAJaAcAAAAAAAAKAZf4//+F////AAAAAAAAAAABlvj//4X///8AAAAAAAAAAAAAAAABlfj//+z///8AAAAAAAAAAAAAAAAAAAAACWwHAACkAQAA/////wEBCglsBwAAAQAKAQeQBgAAAAEAAAACAAAABBpBcGxvcmlzLkJhc2UuVUkuVmlzdWFsTGluZQMAAAANAgeSBgAAAAEAAAADAAAABBVTeXN0ZW0uRHJhd2luZy5Qb2ludEYEAAAAAZP4///g////49DZQxvHeEMBkvj//+D///8WhM9DG8d4QwGR+P//4P///7Ad5EMbx3hDB5MGAAAAAQAAAAMAAAAEF0FwbG9yaXMuQmFzZS5BbmNob3JNb2RlAwAAAAGQ+P//PP///wAAAAABj/j//zz///8CAAAAAY74//88////BAAAAAGUBgAAJAAAAAmGAgAAAAAAAAAAAAABlwYAACYAAAAJdAcAAAIAAAACAAAAAdkGAAB+AAAACXUHAAAJdgcAAAXcB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oFAAAKAAAAAABAQQl/AAAACYAAAAAJegcAAAEACXsHAAAB3QYAAIEAAAAKCgAAAACSk5gABQAAAAABAeIGAADRAAAACXwHAAABAAAAAwAAAAHnBgAAeQAAAAoKAAAAQD8JfQcAAAl+BwAAAQAAAP7///8AAAAAAQAAAAAAAAAAAAAAAQAAAAAAAAAAAAAB6AYAAHoAAAAKCgl/BwAACYAHAAABAAAAAAAAAAAAAAD/////AAAB7AYAAH4AAAAJgQcAAAmCBwAAB/QGAAAAAQAAAAQAAAAEHEFwbG9yaXMuQmFzZS5VSS5WaXN1YWxPYmplY3QDAAAACWcGAAAJZgYAAA0CAfkGAAB+AAAACYUHAAAJhgcAAAX8B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wFAAAKAAAAAABAQQl/AAAACYAAAAAJigcAAAEACYsHAAAB/QYAAIEAAAAKCgAAAACSk5gABQAAAAABAQIHAADRAAAACYwHAAABAAAAAwAAAAEHBwAAeQAAAAoKAAAAQD8JjQcAAAmOBwAAAQAAAP7///8AAAAAAQAAAAAAAAAAAAAAAQAAAAAAAAAAAAABCAcAAHoAAAAKCgmPBwAACZAHAAABAAAAAAAAAAAAAAD/////AAABDAcAAH4AAAAJkQcAAAmSBwAABxQHAAAAAQAAAAQAAAAEHEFwbG9yaXMuQmFzZS5VSS5WaXN1YWxPYmplY3QDAAAACXEGAAAJcAYAAA0CARkHAAB+AAAACZUHAAAJlgcAAAUc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0FAAAKAAAAAABAQQl/AAAACYAAAAAJmgcAAAEACZsHAAABHQcAAIEAAAAKCgAAAACSk5gABQAAAAABASIHAADRAAAACZwHAAABAAAAAwAAAAEnBwAAeQAAAAoKAAAAQD8JnQcAAAmeBwAAAQAAAP7///8AAAAAAQAAAAAAAAAAAAAAAQAAAAAAAAAAAAABKAcAAHoAAAAKCgmfBwAACaAHAAABAAAAAAAAAAAAAAD/////AAABLAcAAH4AAAAJoQcAAAmiBwAABzQHAAAAAQAAAAQAAAAEHEFwbG9yaXMuQmFzZS5VSS5WaXN1YWxPYmplY3QDAAAACXsGAAAJegYAAA0CATkHAAB+AAAACaUHAAAJpgcAAAU8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4FAAAKAAAAAABAQQl/AAAACYAAAAAJqgcAAAEACasHAAABPQcAAIEAAAAKCgAAAACSk5gABQAAAAABAUIHAADRAAAACawHAAABAAAAAwAAAAFHBwAAeQAAAAoKAAAAQD8JrQcAAAmuBwAAAQAAAP7///8AAAAAAQAAAAAAAAAAAAAAAQAAAAAAAAAAAAABSAcAAHoAAAAKCgmvBwAACbAHAAABAAAAAAAAAAAAAAD/////AAABTAcAAH4AAAAJsQcAAAmyBwAAB1QHAAAAAQAAAAQAAAAEHEFwbG9yaXMuQmFzZS5VSS5WaXN1YWxPYmplY3QDAAAACYUGAAAJhAYAAA0CAVkHAAB+AAAACbUHAAAJtgcAAAVc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8FAAAKAAAAAABAQQl/AAAACYAAAAAJugcAAAEACbsHAAABXQcAAIEAAAAKCgAAAACSk5gABQAAAAABAWIHAADRAAAACbwHAAABAAAAAwAAAAFnBwAAeQAAAAoKAAAAQD8JvQcAAAm+BwAAAQAAAP7///8AAAAAAQAAAAAAAAAAAAAAAQAAAAAAAAAAAAABaAcAAHoAAAAKCgm/BwAACcAHAAABAAAAAAAAAAAAAAD/////AAABbAcAAH4AAAAJwQcAAAnCBwAAB3QHAAAAAQAAAAQAAAAEHEFwbG9yaXMuQmFzZS5VSS5WaXN1YWxPYmplY3QDAAAACY8GAAAJjgYAAA0CD3UHAAABAAAACB0AAAAHdgcAAAABAAAAAQAAAAMNU3lzdGVtLkludFB0cgE7+P//bf7//wAAAAAAAAAAAXoHAACBAAAACgoAAAAALTBBAA0AAAAAAQF7BwAAgQAAAAoKAQAAAAAAAAD/////AAEHfAcAAAABAAAABAAAAAQdQXBsb3Jpcy5CYXNlLk9iamVjdHMuVmFyaWFibGUDAAAAATr4//92+v//AQAAAAAAAAABOfj//3b6//8AAAAAAAAAAAE4+P//dvr//wAAAAAAAAAAATf4//92+v//AAAAAAAAAAAFfQcAABpBcGxvcmlzLkJhc2UuT2JqZWN0cy5Db2xvcgcAAAASRGF0YU9iamVjdCttUGFyZW50FURhdGFPYmplY3QrbUNvbnRhaW5lcgVtVHlwZQRtUkdCEG1UaGVtZUNvbG9ySW5kZXgMbUF1dG9VcGRhdGVkCW1Nb2RpZmllZAQCAAAAAAAfQXBsb3Jpcy5CYXNlLk9iamVjdHMuTGluZUZvcm1hdAMAAAAICAgBAQMAAAAJ5wYAAAoAAAAA////AA4AAAAAAAV+BwAAGkFwbG9yaXMuQmFzZS5PYmplY3RzLkNvbG9yBwAAABJEYXRhT2JqZWN0K21QYXJlbnQVRGF0YU9iamVjdCttQ29udGFpbmVyBW1UeXBlBG1SR0IQbVRoZW1lQ29sb3JJbmRleAxtQXV0b1VwZGF0ZWQJbU1vZGlmaWVkBAIAAAAAAB9BcGxvcmlzLkJhc2UuT2JqZWN0cy5MaW5lRm9ybWF0AwAAAAgICAEBAwAAAAnnBgAACgEAAAAAAAAA/////wABAX8HAACBAAAACgoAAAAA/0g8AAcAAAAAAAGABwAAgQAAAAoKAQAAAP///wD/////AAAPgQcAAAEAAAAIBwAAAAeCBwAAAAEAAAABAAAAAw1TeXN0ZW0uSW50UHRyATX4//9t/v//AAAAAAAAAAAPhQcAAAEAAAAIHwAAAAeGBwAAAAEAAAABAAAAAw1TeXN0ZW0uSW50UHRyATT4//9t/v//AAAAAAAAAAABigcAAIEAAAAKCgAAAAAtMEEADQAAAAABAYsHAACBAAAACgoBAAAAAAAAAP////8AAQeMBwAAAAEAAAAEAAAABB1BcGxvcmlzLkJhc2UuT2JqZWN0cy5WYXJpYWJsZQMAAAABM/j//3b6//8BAAAAAAAAAAEy+P//dvr//wAAAAAAAAAAATH4//92+v//AAAAAAAAAAABMPj//3b6//8AAAAAAAAAAAWNBwAAGkFwbG9yaXMuQmFzZS5PYmplY3RzLkNvbG9yBwAAABJEYXRhT2JqZWN0K21QYXJlbnQVRGF0YU9iamVjdCttQ29udGFpbmVyBW1UeXBlBG1SR0IQbVRoZW1lQ29sb3JJbmRleAxtQXV0b1VwZGF0ZWQJbU1vZGlmaWVkBAIAAAAAAB9BcGxvcmlzLkJhc2UuT2JqZWN0cy5MaW5lRm9ybWF0AwAAAAgICAEBAwAAAAkHBwAACgAAAAD///8ADgAAAAAABY4HAAAaQXBsb3Jpcy5CYXNlLk9iamVjdHMuQ29sb3IHAAAAEkRhdGFPYmplY3QrbVBhcmVudBVEYXRhT2JqZWN0K21Db250YWluZXIFbVR5cGUEbVJHQhBtVGhlbWVDb2xvckluZGV4DG1BdXRvVXBkYXRlZAltTW9kaWZpZWQEAgAAAAAAH0FwbG9yaXMuQmFzZS5PYmplY3RzLkxpbmVGb3JtYXQDAAAACAgIAQEDAAAACQcHAAAKAQAAAAAAAAD/////AAEBjwcAAIEAAAAKCgAAAAD/SDwABwAAAAAAAZAHAACBAAAACgoBAAAA////AP////8AAA+RBwAAAQAAAAgEAAAAB5IHAAAAAQAAAAEAAAADDVN5c3RlbS5JbnRQdHIBLvj//23+//8AAAAAAAAAAA+VBwAAAQAAAAgWAAAAB5YHAAAAAQAAAAEAAAADDVN5c3RlbS5JbnRQdHIBLfj//23+//8AAAAAAAAAAAGaBwAAgQAAAAoKAAAAAC0wQQANAAAAAAEBmwcAAIEAAAAKCgEAAAAAAAAA/////wABB5wHAAAAAQAAAAQAAAAEHUFwbG9yaXMuQmFzZS5PYmplY3RzLlZhcmlhYmxlAwAAAAEs+P//dvr//wEAAAAAAAAAASv4//92+v//AAAAAAAAAAABKvj//3b6//8AAAAAAAAAAAEp+P//dvr//wAAAAAAAAAABZ0HAAAaQXBsb3Jpcy5CYXNlLk9iamVjdHMuQ29sb3IHAAAAEkRhdGFPYmplY3QrbVBhcmVudBVEYXRhT2JqZWN0K21Db250YWluZXIFbVR5cGUEbVJHQhBtVGhlbWVDb2xvckluZGV4DG1BdXRvVXBkYXRlZAltTW9kaWZpZWQEAgAAAAAAH0FwbG9yaXMuQmFzZS5PYmplY3RzLkxpbmVGb3JtYXQDAAAACAgIAQEDAAAACScHAAAKAAAAAP///wAOAAAAAAAFngcAABpBcGxvcmlzLkJhc2UuT2JqZWN0cy5Db2xvcgcAAAASRGF0YU9iamVjdCttUGFyZW50FURhdGFPYmplY3QrbUNvbnRhaW5lcgVtVHlwZQRtUkdCEG1UaGVtZUNvbG9ySW5kZXgMbUF1dG9VcGRhdGVkCW1Nb2RpZmllZAQCAAAAAAAfQXBsb3Jpcy5CYXNlLk9iamVjdHMuTGluZUZvcm1hdAMAAAAICAgBAQMAAAAJJwcAAAoBAAAAAAAAAP////8AAQGfBwAAgQAAAAoKAAAAAP9IPAAHAAAAAAABoAcAAIEAAAAKCgEAAAD///8A/////wAAD6EHAAABAAAACAUAAAAHogcAAAABAAAAAQAAAAMNU3lzdGVtLkludFB0cgEn+P//bf7//wAAAAAAAAAAD6UHAAABAAAACCAAAAAHpgcAAAABAAAAAQAAAAMNU3lzdGVtLkludFB0cgEm+P//bf7//wAAAAAAAAAAAaoHAACBAAAACgoAAAAALTBBAA0AAAAAAQGrBwAAgQAAAAoKAQAAAAAAAAD/////AAEHrAcAAAABAAAABAAAAAQdQXBsb3Jpcy5CYXNlLk9iamVjdHMuVmFyaWFibGUDAAAAASX4//92+v//AQAAAAAAAAABJPj//3b6//8AAAAAAAAAAAEj+P//dvr//wAAAAAAAAAAASL4//92+v//AAAAAAAAAAAFrQcAABpBcGxvcmlzLkJhc2UuT2JqZWN0cy5Db2xvcgcAAAASRGF0YU9iamVjdCttUGFyZW50FURhdGFPYmplY3QrbUNvbnRhaW5lcgVtVHlwZQRtUkdCEG1UaGVtZUNvbG9ySW5kZXgMbUF1dG9VcGRhdGVkCW1Nb2RpZmllZAQCAAAAAAAfQXBsb3Jpcy5CYXNlLk9iamVjdHMuTGluZUZvcm1hdAMAAAAICAgBAQMAAAAJRwcAAAoAAAAA////AA4AAAAAAAWuBwAAGkFwbG9yaXMuQmFzZS5PYmplY3RzLkNvbG9yBwAAABJEYXRhT2JqZWN0K21QYXJlbnQVRGF0YU9iamVjdCttQ29udGFpbmVyBW1UeXBlBG1SR0IQbVRoZW1lQ29sb3JJbmRleAxtQXV0b1VwZGF0ZWQJbU1vZGlmaWVkBAIAAAAAAB9BcGxvcmlzLkJhc2UuT2JqZWN0cy5MaW5lRm9ybWF0AwAAAAgICAEBAwAAAAlHBwAACgEAAAAAAAAA/////wABAa8HAACBAAAACgoAAAAA/0g8AAcAAAAAAAGwBwAAgQAAAAoKAQAAAP///wD/////AAAPsQcAAAEAAAAIBgAAAAeyBwAAAAEAAAABAAAAAw1TeXN0ZW0uSW50UHRyASD4//9t/v//AAAAAAAAAAAPtQcAAAEAAAAIHAAAAAe2BwAAAAEAAAABAAAAAw1TeXN0ZW0uSW50UHRyAR/4//9t/v//AAAAAAAAAAABugcAAIEAAAAKCgAAAAAtMEEADQAAAAABAbsHAACBAAAACgoBAAAAAAAAAP////8AAQe8BwAAAAEAAAAEAAAABB1BcGxvcmlzLkJhc2UuT2JqZWN0cy5WYXJpYWJsZQMAAAABHvj//3b6//8BAAAAAAAAAAEd+P//dvr//wAAAAAAAAAAARz4//92+v//AAAAAAAAAAABG/j//3b6//8AAAAAAAAAAAW9BwAAGkFwbG9yaXMuQmFzZS5PYmplY3RzLkNvbG9yBwAAABJEYXRhT2JqZWN0K21QYXJlbnQVRGF0YU9iamVjdCttQ29udGFpbmVyBW1UeXBlBG1SR0IQbVRoZW1lQ29sb3JJbmRleAxtQXV0b1VwZGF0ZWQJbU1vZGlmaWVkBAIAAAAAAB9BcGxvcmlzLkJhc2UuT2JqZWN0cy5MaW5lRm9ybWF0AwAAAAgICAEBAwAAAAlnBwAACgAAAAD///8ADgAAAAAABb4HAAAaQXBsb3Jpcy5CYXNlLk9iamVjdHMuQ29sb3IHAAAAEkRhdGFPYmplY3QrbVBhcmVudBVEYXRhT2JqZWN0K21Db250YWluZXIFbVR5cGUEbVJHQhBtVGhlbWVDb2xvckluZGV4DG1BdXRvVXBkYXRlZAltTW9kaWZpZWQEAgAAAAAAH0FwbG9yaXMuQmFzZS5PYmplY3RzLkxpbmVGb3JtYXQDAAAACAgIAQEDAAAACWcHAAAKAQAAAAAAAAD/////AAEBvwcAAIEAAAAKCgAAAAD/SDwABwAAAAAAAcAHAACBAAAACgoBAAAA////AP////8AAA/BBwAAAQAAAAgCAAAAB8IHAAAAAQAAAAEAAAADDVN5c3RlbS5JbnRQdHIBGfj//23+//8AAAAAAAAAAAs="/>
</p:tagLst>
</file>

<file path=ppt/tags/tag20.xml><?xml version="1.0" encoding="utf-8"?>
<p:tagLst xmlns:a="http://schemas.openxmlformats.org/drawingml/2006/main" xmlns:r="http://schemas.openxmlformats.org/officeDocument/2006/relationships" xmlns:p="http://schemas.openxmlformats.org/presentationml/2006/main">
  <p:tag name="APLORISTAG" val="MJmcEPcaR8fRyjjxX.67"/>
</p:tagLst>
</file>

<file path=ppt/tags/tag21.xml><?xml version="1.0" encoding="utf-8"?>
<p:tagLst xmlns:a="http://schemas.openxmlformats.org/drawingml/2006/main" xmlns:r="http://schemas.openxmlformats.org/officeDocument/2006/relationships" xmlns:p="http://schemas.openxmlformats.org/presentationml/2006/main">
  <p:tag name="APLORISTAG" val="MJmcEPcaR8fRyjjxX.41"/>
</p:tagLst>
</file>

<file path=ppt/tags/tag22.xml><?xml version="1.0" encoding="utf-8"?>
<p:tagLst xmlns:a="http://schemas.openxmlformats.org/drawingml/2006/main" xmlns:r="http://schemas.openxmlformats.org/officeDocument/2006/relationships" xmlns:p="http://schemas.openxmlformats.org/presentationml/2006/main">
  <p:tag name="APLORISTAG" val="MJmcEPcaR8fRyjjxX.57"/>
</p:tagLst>
</file>

<file path=ppt/tags/tag23.xml><?xml version="1.0" encoding="utf-8"?>
<p:tagLst xmlns:a="http://schemas.openxmlformats.org/drawingml/2006/main" xmlns:r="http://schemas.openxmlformats.org/officeDocument/2006/relationships" xmlns:p="http://schemas.openxmlformats.org/presentationml/2006/main">
  <p:tag name="APLORISTAG" val="MJmcEPcaR8fRyjjxX.61"/>
</p:tagLst>
</file>

<file path=ppt/tags/tag24.xml><?xml version="1.0" encoding="utf-8"?>
<p:tagLst xmlns:a="http://schemas.openxmlformats.org/drawingml/2006/main" xmlns:r="http://schemas.openxmlformats.org/officeDocument/2006/relationships" xmlns:p="http://schemas.openxmlformats.org/presentationml/2006/main">
  <p:tag name="APLORISTAG" val="MJmcEPcaR8fRyjjxX.66"/>
</p:tagLst>
</file>

<file path=ppt/tags/tag25.xml><?xml version="1.0" encoding="utf-8"?>
<p:tagLst xmlns:a="http://schemas.openxmlformats.org/drawingml/2006/main" xmlns:r="http://schemas.openxmlformats.org/officeDocument/2006/relationships" xmlns:p="http://schemas.openxmlformats.org/presentationml/2006/main">
  <p:tag name="APLORISTAG" val="MJmcEPcaR8fRyjjxX.63"/>
</p:tagLst>
</file>

<file path=ppt/tags/tag26.xml><?xml version="1.0" encoding="utf-8"?>
<p:tagLst xmlns:a="http://schemas.openxmlformats.org/drawingml/2006/main" xmlns:r="http://schemas.openxmlformats.org/officeDocument/2006/relationships" xmlns:p="http://schemas.openxmlformats.org/presentationml/2006/main">
  <p:tag name="APLORISTAG" val="MJmcEPcaR8fRyjjxX.73"/>
</p:tagLst>
</file>

<file path=ppt/tags/tag27.xml><?xml version="1.0" encoding="utf-8"?>
<p:tagLst xmlns:a="http://schemas.openxmlformats.org/drawingml/2006/main" xmlns:r="http://schemas.openxmlformats.org/officeDocument/2006/relationships" xmlns:p="http://schemas.openxmlformats.org/presentationml/2006/main">
  <p:tag name="APLORISTAG" val="MJmcEPcaR8fRyjjxX.65"/>
</p:tagLst>
</file>

<file path=ppt/tags/tag28.xml><?xml version="1.0" encoding="utf-8"?>
<p:tagLst xmlns:a="http://schemas.openxmlformats.org/drawingml/2006/main" xmlns:r="http://schemas.openxmlformats.org/officeDocument/2006/relationships" xmlns:p="http://schemas.openxmlformats.org/presentationml/2006/main">
  <p:tag name="APLORISTAG" val="MJmcEPcaR8fRyjjxX.62"/>
</p:tagLst>
</file>

<file path=ppt/tags/tag29.xml><?xml version="1.0" encoding="utf-8"?>
<p:tagLst xmlns:a="http://schemas.openxmlformats.org/drawingml/2006/main" xmlns:r="http://schemas.openxmlformats.org/officeDocument/2006/relationships" xmlns:p="http://schemas.openxmlformats.org/presentationml/2006/main">
  <p:tag name="APLORISTAG" val="MJmcEPcaR8fRyjjxX.64"/>
</p:tagLst>
</file>

<file path=ppt/tags/tag3.xml><?xml version="1.0" encoding="utf-8"?>
<p:tagLst xmlns:a="http://schemas.openxmlformats.org/drawingml/2006/main" xmlns:r="http://schemas.openxmlformats.org/officeDocument/2006/relationships" xmlns:p="http://schemas.openxmlformats.org/presentationml/2006/main">
  <p:tag name="APLORISTAG" val="MJmcEPcaR8fRyjjxX.4"/>
</p:tagLst>
</file>

<file path=ppt/tags/tag30.xml><?xml version="1.0" encoding="utf-8"?>
<p:tagLst xmlns:a="http://schemas.openxmlformats.org/drawingml/2006/main" xmlns:r="http://schemas.openxmlformats.org/officeDocument/2006/relationships" xmlns:p="http://schemas.openxmlformats.org/presentationml/2006/main">
  <p:tag name="APLORISTAG" val="MJmcEPcaR8fRyjjxX.12"/>
</p:tagLst>
</file>

<file path=ppt/tags/tag31.xml><?xml version="1.0" encoding="utf-8"?>
<p:tagLst xmlns:a="http://schemas.openxmlformats.org/drawingml/2006/main" xmlns:r="http://schemas.openxmlformats.org/officeDocument/2006/relationships" xmlns:p="http://schemas.openxmlformats.org/presentationml/2006/main">
  <p:tag name="APLORISTAG" val="MJmcEPcaR8fRyjjxX.18"/>
</p:tagLst>
</file>

<file path=ppt/tags/tag32.xml><?xml version="1.0" encoding="utf-8"?>
<p:tagLst xmlns:a="http://schemas.openxmlformats.org/drawingml/2006/main" xmlns:r="http://schemas.openxmlformats.org/officeDocument/2006/relationships" xmlns:p="http://schemas.openxmlformats.org/presentationml/2006/main">
  <p:tag name="APLORISTAG" val="MJmcEPcaR8fRyjjxX.17"/>
</p:tagLst>
</file>

<file path=ppt/tags/tag33.xml><?xml version="1.0" encoding="utf-8"?>
<p:tagLst xmlns:a="http://schemas.openxmlformats.org/drawingml/2006/main" xmlns:r="http://schemas.openxmlformats.org/officeDocument/2006/relationships" xmlns:p="http://schemas.openxmlformats.org/presentationml/2006/main">
  <p:tag name="APLORISTAG" val="MJmcEPcaR8fRyjjxX.16"/>
</p:tagLst>
</file>

<file path=ppt/tags/tag34.xml><?xml version="1.0" encoding="utf-8"?>
<p:tagLst xmlns:a="http://schemas.openxmlformats.org/drawingml/2006/main" xmlns:r="http://schemas.openxmlformats.org/officeDocument/2006/relationships" xmlns:p="http://schemas.openxmlformats.org/presentationml/2006/main">
  <p:tag name="APLORISTAG" val="MJmcEPcaR8fRyjjxX.13"/>
</p:tagLst>
</file>

<file path=ppt/tags/tag35.xml><?xml version="1.0" encoding="utf-8"?>
<p:tagLst xmlns:a="http://schemas.openxmlformats.org/drawingml/2006/main" xmlns:r="http://schemas.openxmlformats.org/officeDocument/2006/relationships" xmlns:p="http://schemas.openxmlformats.org/presentationml/2006/main">
  <p:tag name="APLORISTAG" val="MJmcEPcaR8fRyjjxX.14"/>
</p:tagLst>
</file>

<file path=ppt/tags/tag36.xml><?xml version="1.0" encoding="utf-8"?>
<p:tagLst xmlns:a="http://schemas.openxmlformats.org/drawingml/2006/main" xmlns:r="http://schemas.openxmlformats.org/officeDocument/2006/relationships" xmlns:p="http://schemas.openxmlformats.org/presentationml/2006/main">
  <p:tag name="APLORISTAG" val="MJmcEPcaR8fRyjjxX.15"/>
</p:tagLst>
</file>

<file path=ppt/tags/tag37.xml><?xml version="1.0" encoding="utf-8"?>
<p:tagLst xmlns:a="http://schemas.openxmlformats.org/drawingml/2006/main" xmlns:r="http://schemas.openxmlformats.org/officeDocument/2006/relationships" xmlns:p="http://schemas.openxmlformats.org/presentationml/2006/main">
  <p:tag name="APLORISTAG" val="MJmcEPcaR8fRyjjxX.19"/>
</p:tagLst>
</file>

<file path=ppt/tags/tag38.xml><?xml version="1.0" encoding="utf-8"?>
<p:tagLst xmlns:a="http://schemas.openxmlformats.org/drawingml/2006/main" xmlns:r="http://schemas.openxmlformats.org/officeDocument/2006/relationships" xmlns:p="http://schemas.openxmlformats.org/presentationml/2006/main">
  <p:tag name="APLORISTAG" val="MJmcEPcaR8fRyjjxX.74"/>
</p:tagLst>
</file>

<file path=ppt/tags/tag39.xml><?xml version="1.0" encoding="utf-8"?>
<p:tagLst xmlns:a="http://schemas.openxmlformats.org/drawingml/2006/main" xmlns:r="http://schemas.openxmlformats.org/officeDocument/2006/relationships" xmlns:p="http://schemas.openxmlformats.org/presentationml/2006/main">
  <p:tag name="APLORISTAG" val="MJmcEPcaR8fRyjjxX.24"/>
</p:tagLst>
</file>

<file path=ppt/tags/tag4.xml><?xml version="1.0" encoding="utf-8"?>
<p:tagLst xmlns:a="http://schemas.openxmlformats.org/drawingml/2006/main" xmlns:r="http://schemas.openxmlformats.org/officeDocument/2006/relationships" xmlns:p="http://schemas.openxmlformats.org/presentationml/2006/main">
  <p:tag name="APLORISTAG" val="MJmcEPcaR8fRyjjxX.6"/>
</p:tagLst>
</file>

<file path=ppt/tags/tag40.xml><?xml version="1.0" encoding="utf-8"?>
<p:tagLst xmlns:a="http://schemas.openxmlformats.org/drawingml/2006/main" xmlns:r="http://schemas.openxmlformats.org/officeDocument/2006/relationships" xmlns:p="http://schemas.openxmlformats.org/presentationml/2006/main">
  <p:tag name="APLORISTAG" val="MJmcEPcaR8fRyjjxX.23"/>
</p:tagLst>
</file>

<file path=ppt/tags/tag41.xml><?xml version="1.0" encoding="utf-8"?>
<p:tagLst xmlns:a="http://schemas.openxmlformats.org/drawingml/2006/main" xmlns:r="http://schemas.openxmlformats.org/officeDocument/2006/relationships" xmlns:p="http://schemas.openxmlformats.org/presentationml/2006/main">
  <p:tag name="APLORISTAG" val="MJmcEPcaR8fRyjjxX.43"/>
</p:tagLst>
</file>

<file path=ppt/tags/tag42.xml><?xml version="1.0" encoding="utf-8"?>
<p:tagLst xmlns:a="http://schemas.openxmlformats.org/drawingml/2006/main" xmlns:r="http://schemas.openxmlformats.org/officeDocument/2006/relationships" xmlns:p="http://schemas.openxmlformats.org/presentationml/2006/main">
  <p:tag name="APLORISTAG" val="MJmcEPcaR8fRyjjxX.33"/>
</p:tagLst>
</file>

<file path=ppt/tags/tag43.xml><?xml version="1.0" encoding="utf-8"?>
<p:tagLst xmlns:a="http://schemas.openxmlformats.org/drawingml/2006/main" xmlns:r="http://schemas.openxmlformats.org/officeDocument/2006/relationships" xmlns:p="http://schemas.openxmlformats.org/presentationml/2006/main">
  <p:tag name="APLORISTAG" val="MJmcEPcaR8fRyjjxX.68"/>
</p:tagLst>
</file>

<file path=ppt/tags/tag44.xml><?xml version="1.0" encoding="utf-8"?>
<p:tagLst xmlns:a="http://schemas.openxmlformats.org/drawingml/2006/main" xmlns:r="http://schemas.openxmlformats.org/officeDocument/2006/relationships" xmlns:p="http://schemas.openxmlformats.org/presentationml/2006/main">
  <p:tag name="APLORISTAG" val="MJmcEPcaR8fRyjjxX.34"/>
</p:tagLst>
</file>

<file path=ppt/tags/tag45.xml><?xml version="1.0" encoding="utf-8"?>
<p:tagLst xmlns:a="http://schemas.openxmlformats.org/drawingml/2006/main" xmlns:r="http://schemas.openxmlformats.org/officeDocument/2006/relationships" xmlns:p="http://schemas.openxmlformats.org/presentationml/2006/main">
  <p:tag name="APLORISTAG" val="MJmcEPcaR8fRyjjxX.25"/>
</p:tagLst>
</file>

<file path=ppt/tags/tag46.xml><?xml version="1.0" encoding="utf-8"?>
<p:tagLst xmlns:a="http://schemas.openxmlformats.org/drawingml/2006/main" xmlns:r="http://schemas.openxmlformats.org/officeDocument/2006/relationships" xmlns:p="http://schemas.openxmlformats.org/presentationml/2006/main">
  <p:tag name="APLORISTAG" val="MJmcEPcaR8fRyjjxX.37"/>
</p:tagLst>
</file>

<file path=ppt/tags/tag47.xml><?xml version="1.0" encoding="utf-8"?>
<p:tagLst xmlns:a="http://schemas.openxmlformats.org/drawingml/2006/main" xmlns:r="http://schemas.openxmlformats.org/officeDocument/2006/relationships" xmlns:p="http://schemas.openxmlformats.org/presentationml/2006/main">
  <p:tag name="APLORISTAG" val="MJmcEPcaR8fRyjjxX.35"/>
</p:tagLst>
</file>

<file path=ppt/tags/tag48.xml><?xml version="1.0" encoding="utf-8"?>
<p:tagLst xmlns:a="http://schemas.openxmlformats.org/drawingml/2006/main" xmlns:r="http://schemas.openxmlformats.org/officeDocument/2006/relationships" xmlns:p="http://schemas.openxmlformats.org/presentationml/2006/main">
  <p:tag name="APLORISTAG" val="MJmcEPcaR8fRyjjxX.76"/>
</p:tagLst>
</file>

<file path=ppt/tags/tag5.xml><?xml version="1.0" encoding="utf-8"?>
<p:tagLst xmlns:a="http://schemas.openxmlformats.org/drawingml/2006/main" xmlns:r="http://schemas.openxmlformats.org/officeDocument/2006/relationships" xmlns:p="http://schemas.openxmlformats.org/presentationml/2006/main">
  <p:tag name="APLORISTAG" val="MJmcEPcaR8fRyjjxX.69"/>
</p:tagLst>
</file>

<file path=ppt/tags/tag6.xml><?xml version="1.0" encoding="utf-8"?>
<p:tagLst xmlns:a="http://schemas.openxmlformats.org/drawingml/2006/main" xmlns:r="http://schemas.openxmlformats.org/officeDocument/2006/relationships" xmlns:p="http://schemas.openxmlformats.org/presentationml/2006/main">
  <p:tag name="APLORISTAG" val="MJmcEPcaR8fRyjjxX.2"/>
</p:tagLst>
</file>

<file path=ppt/tags/tag7.xml><?xml version="1.0" encoding="utf-8"?>
<p:tagLst xmlns:a="http://schemas.openxmlformats.org/drawingml/2006/main" xmlns:r="http://schemas.openxmlformats.org/officeDocument/2006/relationships" xmlns:p="http://schemas.openxmlformats.org/presentationml/2006/main">
  <p:tag name="APLORISTAG" val="MJmcEPcaR8fRyjjxX.3"/>
</p:tagLst>
</file>

<file path=ppt/tags/tag8.xml><?xml version="1.0" encoding="utf-8"?>
<p:tagLst xmlns:a="http://schemas.openxmlformats.org/drawingml/2006/main" xmlns:r="http://schemas.openxmlformats.org/officeDocument/2006/relationships" xmlns:p="http://schemas.openxmlformats.org/presentationml/2006/main">
  <p:tag name="APLORISTAG" val="MJmcEPcaR8fRyjjxX.7"/>
</p:tagLst>
</file>

<file path=ppt/tags/tag9.xml><?xml version="1.0" encoding="utf-8"?>
<p:tagLst xmlns:a="http://schemas.openxmlformats.org/drawingml/2006/main" xmlns:r="http://schemas.openxmlformats.org/officeDocument/2006/relationships" xmlns:p="http://schemas.openxmlformats.org/presentationml/2006/main">
  <p:tag name="APLORISTAG" val="MJmcEPcaR8fRyjjxX.9"/>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615</TotalTime>
  <Words>1629</Words>
  <Application>Microsoft Office PowerPoint</Application>
  <PresentationFormat>Widescreen</PresentationFormat>
  <Paragraphs>257</Paragraphs>
  <Slides>20</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Arial</vt:lpstr>
      <vt:lpstr>Calibri</vt:lpstr>
      <vt:lpstr>Calibri Light</vt:lpstr>
      <vt:lpstr>Symbol</vt:lpstr>
      <vt:lpstr>var(--font-headings,"PT Sans",-apple-system,BlinkMacSystemFont,"Segoe UI","Roboto","Oxygen","Ubuntu","Cantarell","Fira Sans","Droid Sans","Helvetica Neue",sans-serif)</vt:lpstr>
      <vt:lpstr>Office Theme</vt:lpstr>
      <vt:lpstr>Digital Transformation through the Covid-19 Experience Ideas, thoughts, and early insights on a research on what digital transformation means in these times</vt:lpstr>
      <vt:lpstr>Agenda</vt:lpstr>
      <vt:lpstr>What is digital transformation?</vt:lpstr>
      <vt:lpstr>The IoT was set to grow in revenues</vt:lpstr>
      <vt:lpstr>IoT was enabling digital transformation  Source: Microsoft IoT Signals Research Sample: 3233 company decision makers</vt:lpstr>
      <vt:lpstr>But large majority of IoT projects were failing</vt:lpstr>
      <vt:lpstr>There are challenges (technological and  non technological) to face</vt:lpstr>
      <vt:lpstr>Two forces to address the challenges and shape market dynamics in 2020</vt:lpstr>
      <vt:lpstr>Simplification for reducing the ratio of IoT projects failure </vt:lpstr>
      <vt:lpstr>The move towards prediction, automation, trust, and decentralisation requires a new era of convergences</vt:lpstr>
      <vt:lpstr>Covid-19 and life under WHO recommendations</vt:lpstr>
      <vt:lpstr>Techno- versus human-driven  approaches for virus control</vt:lpstr>
      <vt:lpstr>Virus Control and the impact on  organisations</vt:lpstr>
      <vt:lpstr>Virus control and cities and  communities</vt:lpstr>
      <vt:lpstr>Nitrogen Dioxide Concentration –  Let’s not forget this comparison</vt:lpstr>
      <vt:lpstr>The technological and  organisational implications of smart working </vt:lpstr>
      <vt:lpstr>Smart Working is the opportunity  of re-thinking mobility and living spaces in name of quality of life</vt:lpstr>
      <vt:lpstr>How can digital transformation help?</vt:lpstr>
      <vt:lpstr>Conclus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wards Decentralised and Ecosystem-based Innovation Model</dc:title>
  <dc:creator>saverio romeo</dc:creator>
  <cp:lastModifiedBy>saverio romeo</cp:lastModifiedBy>
  <cp:revision>47</cp:revision>
  <dcterms:created xsi:type="dcterms:W3CDTF">2018-06-16T09:17:53Z</dcterms:created>
  <dcterms:modified xsi:type="dcterms:W3CDTF">2020-05-24T21:33:05Z</dcterms:modified>
</cp:coreProperties>
</file>